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8" r:id="rId1"/>
  </p:sldMasterIdLst>
  <p:notesMasterIdLst>
    <p:notesMasterId r:id="rId19"/>
  </p:notesMasterIdLst>
  <p:sldIdLst>
    <p:sldId id="256" r:id="rId2"/>
    <p:sldId id="262" r:id="rId3"/>
    <p:sldId id="271" r:id="rId4"/>
    <p:sldId id="265" r:id="rId5"/>
    <p:sldId id="268" r:id="rId6"/>
    <p:sldId id="266" r:id="rId7"/>
    <p:sldId id="270" r:id="rId8"/>
    <p:sldId id="258" r:id="rId9"/>
    <p:sldId id="264" r:id="rId10"/>
    <p:sldId id="259" r:id="rId11"/>
    <p:sldId id="263" r:id="rId12"/>
    <p:sldId id="260" r:id="rId13"/>
    <p:sldId id="269" r:id="rId14"/>
    <p:sldId id="261" r:id="rId15"/>
    <p:sldId id="267" r:id="rId16"/>
    <p:sldId id="272" r:id="rId17"/>
    <p:sldId id="273" r:id="rId1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702" y="72"/>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109205-4B23-4F69-AA9E-BF4318A536AE}" type="datetimeFigureOut">
              <a:rPr lang="en-IN" smtClean="0"/>
              <a:t>10-11-2020</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451209-79DC-4B47-96C8-CC993F512092}" type="slidenum">
              <a:rPr lang="en-IN" smtClean="0"/>
              <a:t>‹#›</a:t>
            </a:fld>
            <a:endParaRPr lang="en-IN"/>
          </a:p>
        </p:txBody>
      </p:sp>
    </p:spTree>
    <p:extLst>
      <p:ext uri="{BB962C8B-B14F-4D97-AF65-F5344CB8AC3E}">
        <p14:creationId xmlns:p14="http://schemas.microsoft.com/office/powerpoint/2010/main" val="21887367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ln/>
        </p:spPr>
      </p:sp>
      <p:sp>
        <p:nvSpPr>
          <p:cNvPr id="19459" name="Notes Placeholder 2"/>
          <p:cNvSpPr>
            <a:spLocks noGrp="1"/>
          </p:cNvSpPr>
          <p:nvPr>
            <p:ph type="body" idx="1"/>
          </p:nvPr>
        </p:nvSpPr>
        <p:spPr>
          <a:noFill/>
        </p:spPr>
        <p:txBody>
          <a:bodyPr/>
          <a:lstStyle/>
          <a:p>
            <a:pPr algn="r"/>
            <a:endParaRPr lang="en-US" altLang="en-US" smtClean="0"/>
          </a:p>
        </p:txBody>
      </p:sp>
      <p:sp>
        <p:nvSpPr>
          <p:cNvPr id="19460" name="Slide Number Placeholder 3"/>
          <p:cNvSpPr>
            <a:spLocks noGrp="1"/>
          </p:cNvSpPr>
          <p:nvPr>
            <p:ph type="sldNum" sz="quarter" idx="5"/>
          </p:nvPr>
        </p:nvSpPr>
        <p:spPr>
          <a:noFill/>
        </p:spPr>
        <p:txBody>
          <a:bodyPr/>
          <a:lstStyle>
            <a:lvl1pPr defTabSz="917575" eaLnBrk="0" hangingPunct="0">
              <a:spcBef>
                <a:spcPct val="30000"/>
              </a:spcBef>
              <a:defRPr sz="1200">
                <a:solidFill>
                  <a:schemeClr val="tx1"/>
                </a:solidFill>
                <a:latin typeface="Arial" charset="0"/>
              </a:defRPr>
            </a:lvl1pPr>
            <a:lvl2pPr marL="742950" indent="-285750" defTabSz="917575" eaLnBrk="0" hangingPunct="0">
              <a:spcBef>
                <a:spcPct val="30000"/>
              </a:spcBef>
              <a:defRPr sz="1200">
                <a:solidFill>
                  <a:schemeClr val="tx1"/>
                </a:solidFill>
                <a:latin typeface="Arial" charset="0"/>
              </a:defRPr>
            </a:lvl2pPr>
            <a:lvl3pPr marL="1143000" indent="-228600" defTabSz="917575" eaLnBrk="0" hangingPunct="0">
              <a:spcBef>
                <a:spcPct val="30000"/>
              </a:spcBef>
              <a:defRPr sz="1200">
                <a:solidFill>
                  <a:schemeClr val="tx1"/>
                </a:solidFill>
                <a:latin typeface="Arial" charset="0"/>
              </a:defRPr>
            </a:lvl3pPr>
            <a:lvl4pPr marL="1600200" indent="-228600" defTabSz="917575" eaLnBrk="0" hangingPunct="0">
              <a:spcBef>
                <a:spcPct val="30000"/>
              </a:spcBef>
              <a:defRPr sz="1200">
                <a:solidFill>
                  <a:schemeClr val="tx1"/>
                </a:solidFill>
                <a:latin typeface="Arial" charset="0"/>
              </a:defRPr>
            </a:lvl4pPr>
            <a:lvl5pPr marL="2057400" indent="-228600" defTabSz="917575" eaLnBrk="0" hangingPunct="0">
              <a:spcBef>
                <a:spcPct val="30000"/>
              </a:spcBef>
              <a:defRPr sz="1200">
                <a:solidFill>
                  <a:schemeClr val="tx1"/>
                </a:solidFill>
                <a:latin typeface="Arial" charset="0"/>
              </a:defRPr>
            </a:lvl5pPr>
            <a:lvl6pPr marL="2514600" indent="-228600" defTabSz="917575" eaLnBrk="0" fontAlgn="base" hangingPunct="0">
              <a:spcBef>
                <a:spcPct val="30000"/>
              </a:spcBef>
              <a:spcAft>
                <a:spcPct val="0"/>
              </a:spcAft>
              <a:defRPr sz="1200">
                <a:solidFill>
                  <a:schemeClr val="tx1"/>
                </a:solidFill>
                <a:latin typeface="Arial" charset="0"/>
              </a:defRPr>
            </a:lvl6pPr>
            <a:lvl7pPr marL="2971800" indent="-228600" defTabSz="917575" eaLnBrk="0" fontAlgn="base" hangingPunct="0">
              <a:spcBef>
                <a:spcPct val="30000"/>
              </a:spcBef>
              <a:spcAft>
                <a:spcPct val="0"/>
              </a:spcAft>
              <a:defRPr sz="1200">
                <a:solidFill>
                  <a:schemeClr val="tx1"/>
                </a:solidFill>
                <a:latin typeface="Arial" charset="0"/>
              </a:defRPr>
            </a:lvl7pPr>
            <a:lvl8pPr marL="3429000" indent="-228600" defTabSz="917575" eaLnBrk="0" fontAlgn="base" hangingPunct="0">
              <a:spcBef>
                <a:spcPct val="30000"/>
              </a:spcBef>
              <a:spcAft>
                <a:spcPct val="0"/>
              </a:spcAft>
              <a:defRPr sz="1200">
                <a:solidFill>
                  <a:schemeClr val="tx1"/>
                </a:solidFill>
                <a:latin typeface="Arial" charset="0"/>
              </a:defRPr>
            </a:lvl8pPr>
            <a:lvl9pPr marL="3886200" indent="-228600" defTabSz="917575"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DD3E5F28-FE3E-420F-AC6D-99D0A406C1C7}" type="slidenum">
              <a:rPr lang="de-DE" altLang="en-US" smtClean="0"/>
              <a:pPr eaLnBrk="1" hangingPunct="1">
                <a:spcBef>
                  <a:spcPct val="0"/>
                </a:spcBef>
              </a:pPr>
              <a:t>12</a:t>
            </a:fld>
            <a:endParaRPr lang="de-DE" altLang="en-US" smtClean="0"/>
          </a:p>
        </p:txBody>
      </p:sp>
    </p:spTree>
    <p:extLst>
      <p:ext uri="{BB962C8B-B14F-4D97-AF65-F5344CB8AC3E}">
        <p14:creationId xmlns:p14="http://schemas.microsoft.com/office/powerpoint/2010/main" val="2272633005"/>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8EDAF6FB-FDC8-4CEE-8F18-F6D34D86A607}" type="datetime1">
              <a:rPr lang="en-IN" smtClean="0"/>
              <a:t>10-11-2020</a:t>
            </a:fld>
            <a:endParaRPr lang="en-IN"/>
          </a:p>
        </p:txBody>
      </p:sp>
      <p:sp>
        <p:nvSpPr>
          <p:cNvPr id="5" name="Footer Placeholder 4"/>
          <p:cNvSpPr>
            <a:spLocks noGrp="1"/>
          </p:cNvSpPr>
          <p:nvPr>
            <p:ph type="ftr" sz="quarter" idx="11"/>
          </p:nvPr>
        </p:nvSpPr>
        <p:spPr/>
        <p:txBody>
          <a:bodyPr/>
          <a:lstStyle/>
          <a:p>
            <a:r>
              <a:rPr lang="en-IN" smtClean="0"/>
              <a:t>Glass | Deepak Pathak | VLM Batch 13</a:t>
            </a:r>
            <a:endParaRPr lang="en-IN"/>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919B753E-A5E7-4674-ACC8-1711CA16ACCF}" type="slidenum">
              <a:rPr lang="en-IN" smtClean="0"/>
              <a:t>‹#›</a:t>
            </a:fld>
            <a:endParaRPr lang="en-IN"/>
          </a:p>
        </p:txBody>
      </p:sp>
      <p:pic>
        <p:nvPicPr>
          <p:cNvPr id="8" name="Picture 7"/>
          <p:cNvPicPr/>
          <p:nvPr userDrawn="1"/>
        </p:nvPicPr>
        <p:blipFill>
          <a:blip r:embed="rId2" cstate="print">
            <a:extLst>
              <a:ext uri="{BEBA8EAE-BF5A-486C-A8C5-ECC9F3942E4B}">
                <a14:imgProps xmlns:a14="http://schemas.microsoft.com/office/drawing/2010/main">
                  <a14:imgLayer r:embed="rId3">
                    <a14:imgEffect>
                      <a14:backgroundRemoval t="0" b="99130" l="0" r="100000"/>
                    </a14:imgEffect>
                  </a14:imgLayer>
                </a14:imgProps>
              </a:ext>
              <a:ext uri="{28A0092B-C50C-407E-A947-70E740481C1C}">
                <a14:useLocalDpi xmlns:a14="http://schemas.microsoft.com/office/drawing/2010/main" val="0"/>
              </a:ext>
            </a:extLst>
          </a:blip>
          <a:stretch>
            <a:fillRect/>
          </a:stretch>
        </p:blipFill>
        <p:spPr>
          <a:xfrm>
            <a:off x="11320670" y="69946"/>
            <a:ext cx="765443" cy="615854"/>
          </a:xfrm>
          <a:prstGeom prst="rect">
            <a:avLst/>
          </a:prstGeom>
        </p:spPr>
      </p:pic>
    </p:spTree>
    <p:extLst>
      <p:ext uri="{BB962C8B-B14F-4D97-AF65-F5344CB8AC3E}">
        <p14:creationId xmlns:p14="http://schemas.microsoft.com/office/powerpoint/2010/main" val="25666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25C051C5-FA87-4EBB-BD9D-646526206F27}" type="datetime1">
              <a:rPr lang="en-IN" smtClean="0"/>
              <a:t>10-11-2020</a:t>
            </a:fld>
            <a:endParaRPr lang="en-IN"/>
          </a:p>
        </p:txBody>
      </p:sp>
      <p:sp>
        <p:nvSpPr>
          <p:cNvPr id="5" name="Footer Placeholder 4"/>
          <p:cNvSpPr>
            <a:spLocks noGrp="1"/>
          </p:cNvSpPr>
          <p:nvPr>
            <p:ph type="ftr" sz="quarter" idx="11"/>
          </p:nvPr>
        </p:nvSpPr>
        <p:spPr/>
        <p:txBody>
          <a:bodyPr/>
          <a:lstStyle/>
          <a:p>
            <a:r>
              <a:rPr lang="en-IN" smtClean="0"/>
              <a:t>Glass | Deepak Pathak | VLM Batch 13</a:t>
            </a:r>
            <a:endParaRPr lang="en-IN"/>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15964734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smtClean="0"/>
              <a:t>Click to edit Master title styl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9BA09C27-EF8F-4E4D-A445-07F48CE7DF20}" type="datetime1">
              <a:rPr lang="en-IN" smtClean="0"/>
              <a:t>10-11-2020</a:t>
            </a:fld>
            <a:endParaRPr lang="en-IN"/>
          </a:p>
        </p:txBody>
      </p:sp>
      <p:sp>
        <p:nvSpPr>
          <p:cNvPr id="5" name="Footer Placeholder 4"/>
          <p:cNvSpPr>
            <a:spLocks noGrp="1"/>
          </p:cNvSpPr>
          <p:nvPr>
            <p:ph type="ftr" sz="quarter" idx="11"/>
          </p:nvPr>
        </p:nvSpPr>
        <p:spPr/>
        <p:txBody>
          <a:bodyPr/>
          <a:lstStyle/>
          <a:p>
            <a:r>
              <a:rPr lang="en-IN" smtClean="0"/>
              <a:t>Glass | Deepak Pathak | VLM Batch 13</a:t>
            </a:r>
            <a:endParaRPr lang="en-IN"/>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919B753E-A5E7-4674-ACC8-1711CA16ACCF}" type="slidenum">
              <a:rPr lang="en-IN" smtClean="0"/>
              <a:t>‹#›</a:t>
            </a:fld>
            <a:endParaRPr lang="en-IN"/>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31746445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smtClean="0"/>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Edit Master text styles</a:t>
            </a:r>
          </a:p>
        </p:txBody>
      </p:sp>
      <p:sp>
        <p:nvSpPr>
          <p:cNvPr id="5" name="Date Placeholder 4"/>
          <p:cNvSpPr>
            <a:spLocks noGrp="1"/>
          </p:cNvSpPr>
          <p:nvPr>
            <p:ph type="dt" sz="half" idx="10"/>
          </p:nvPr>
        </p:nvSpPr>
        <p:spPr/>
        <p:txBody>
          <a:bodyPr/>
          <a:lstStyle/>
          <a:p>
            <a:fld id="{A38DA7C7-23DE-451D-8C95-B78DA61F8631}" type="datetime1">
              <a:rPr lang="en-IN" smtClean="0"/>
              <a:t>10-11-2020</a:t>
            </a:fld>
            <a:endParaRPr lang="en-IN"/>
          </a:p>
        </p:txBody>
      </p:sp>
      <p:sp>
        <p:nvSpPr>
          <p:cNvPr id="6" name="Footer Placeholder 5"/>
          <p:cNvSpPr>
            <a:spLocks noGrp="1"/>
          </p:cNvSpPr>
          <p:nvPr>
            <p:ph type="ftr" sz="quarter" idx="11"/>
          </p:nvPr>
        </p:nvSpPr>
        <p:spPr/>
        <p:txBody>
          <a:bodyPr/>
          <a:lstStyle/>
          <a:p>
            <a:r>
              <a:rPr lang="en-IN" smtClean="0"/>
              <a:t>Glass | Deepak Pathak | VLM Batch 13</a:t>
            </a:r>
            <a:endParaRPr lang="en-IN"/>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18472909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Edit Master text styles</a:t>
            </a:r>
          </a:p>
        </p:txBody>
      </p:sp>
      <p:sp>
        <p:nvSpPr>
          <p:cNvPr id="5" name="Date Placeholder 4"/>
          <p:cNvSpPr>
            <a:spLocks noGrp="1"/>
          </p:cNvSpPr>
          <p:nvPr>
            <p:ph type="dt" sz="half" idx="10"/>
          </p:nvPr>
        </p:nvSpPr>
        <p:spPr/>
        <p:txBody>
          <a:bodyPr/>
          <a:lstStyle/>
          <a:p>
            <a:fld id="{036C6B29-1259-4671-B111-9FBD528F87C6}" type="datetime1">
              <a:rPr lang="en-IN" smtClean="0"/>
              <a:t>10-11-2020</a:t>
            </a:fld>
            <a:endParaRPr lang="en-IN"/>
          </a:p>
        </p:txBody>
      </p:sp>
      <p:sp>
        <p:nvSpPr>
          <p:cNvPr id="6" name="Footer Placeholder 5"/>
          <p:cNvSpPr>
            <a:spLocks noGrp="1"/>
          </p:cNvSpPr>
          <p:nvPr>
            <p:ph type="ftr" sz="quarter" idx="11"/>
          </p:nvPr>
        </p:nvSpPr>
        <p:spPr/>
        <p:txBody>
          <a:bodyPr/>
          <a:lstStyle/>
          <a:p>
            <a:r>
              <a:rPr lang="en-IN" smtClean="0"/>
              <a:t>Glass | Deepak Pathak | VLM Batch 13</a:t>
            </a:r>
            <a:endParaRPr lang="en-IN"/>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919B753E-A5E7-4674-ACC8-1711CA16ACCF}" type="slidenum">
              <a:rPr lang="en-IN" smtClean="0"/>
              <a:t>‹#›</a:t>
            </a:fld>
            <a:endParaRPr lang="en-IN"/>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0751446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Edit Master text styles</a:t>
            </a:r>
          </a:p>
        </p:txBody>
      </p:sp>
      <p:sp>
        <p:nvSpPr>
          <p:cNvPr id="5" name="Date Placeholder 4"/>
          <p:cNvSpPr>
            <a:spLocks noGrp="1"/>
          </p:cNvSpPr>
          <p:nvPr>
            <p:ph type="dt" sz="half" idx="10"/>
          </p:nvPr>
        </p:nvSpPr>
        <p:spPr/>
        <p:txBody>
          <a:bodyPr/>
          <a:lstStyle/>
          <a:p>
            <a:fld id="{E2005445-7F00-427B-AD35-C3F1BD05C764}" type="datetime1">
              <a:rPr lang="en-IN" smtClean="0"/>
              <a:t>10-11-2020</a:t>
            </a:fld>
            <a:endParaRPr lang="en-IN"/>
          </a:p>
        </p:txBody>
      </p:sp>
      <p:sp>
        <p:nvSpPr>
          <p:cNvPr id="6" name="Footer Placeholder 5"/>
          <p:cNvSpPr>
            <a:spLocks noGrp="1"/>
          </p:cNvSpPr>
          <p:nvPr>
            <p:ph type="ftr" sz="quarter" idx="11"/>
          </p:nvPr>
        </p:nvSpPr>
        <p:spPr/>
        <p:txBody>
          <a:bodyPr/>
          <a:lstStyle/>
          <a:p>
            <a:r>
              <a:rPr lang="en-IN" smtClean="0"/>
              <a:t>Glass | Deepak Pathak | VLM Batch 13</a:t>
            </a:r>
            <a:endParaRPr lang="en-IN"/>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16233688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507D601-294C-458C-B0DF-8E210BFB6B31}" type="datetime1">
              <a:rPr lang="en-IN" smtClean="0"/>
              <a:t>10-11-2020</a:t>
            </a:fld>
            <a:endParaRPr lang="en-IN"/>
          </a:p>
        </p:txBody>
      </p:sp>
      <p:sp>
        <p:nvSpPr>
          <p:cNvPr id="5" name="Footer Placeholder 4"/>
          <p:cNvSpPr>
            <a:spLocks noGrp="1"/>
          </p:cNvSpPr>
          <p:nvPr>
            <p:ph type="ftr" sz="quarter" idx="11"/>
          </p:nvPr>
        </p:nvSpPr>
        <p:spPr/>
        <p:txBody>
          <a:bodyPr/>
          <a:lstStyle/>
          <a:p>
            <a:r>
              <a:rPr lang="en-IN" smtClean="0"/>
              <a:t>Glass | Deepak Pathak | VLM Batch 13</a:t>
            </a:r>
            <a:endParaRPr lang="en-IN"/>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36774133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E97610CD-9984-4AA4-BBCD-9CD7C966A4E4}" type="datetime1">
              <a:rPr lang="en-IN" smtClean="0"/>
              <a:t>10-11-2020</a:t>
            </a:fld>
            <a:endParaRPr lang="en-IN"/>
          </a:p>
        </p:txBody>
      </p:sp>
      <p:sp>
        <p:nvSpPr>
          <p:cNvPr id="5" name="Footer Placeholder 4"/>
          <p:cNvSpPr>
            <a:spLocks noGrp="1"/>
          </p:cNvSpPr>
          <p:nvPr>
            <p:ph type="ftr" sz="quarter" idx="11"/>
          </p:nvPr>
        </p:nvSpPr>
        <p:spPr/>
        <p:txBody>
          <a:bodyPr/>
          <a:lstStyle/>
          <a:p>
            <a:r>
              <a:rPr lang="en-IN" smtClean="0"/>
              <a:t>Glass | Deepak Pathak | VLM Batch 13</a:t>
            </a:r>
            <a:endParaRPr lang="en-IN"/>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2144729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12961" y="333375"/>
            <a:ext cx="9691652" cy="1116013"/>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1808922" y="1628775"/>
            <a:ext cx="9695690" cy="467995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513BFC9-0D57-4C1B-BD33-B4403E1A2853}" type="datetime1">
              <a:rPr lang="en-IN" smtClean="0"/>
              <a:t>10-11-2020</a:t>
            </a:fld>
            <a:endParaRPr lang="en-IN"/>
          </a:p>
        </p:txBody>
      </p:sp>
      <p:sp>
        <p:nvSpPr>
          <p:cNvPr id="5" name="Footer Placeholder 4"/>
          <p:cNvSpPr>
            <a:spLocks noGrp="1"/>
          </p:cNvSpPr>
          <p:nvPr>
            <p:ph type="ftr" sz="quarter" idx="11"/>
          </p:nvPr>
        </p:nvSpPr>
        <p:spPr/>
        <p:txBody>
          <a:bodyPr/>
          <a:lstStyle/>
          <a:p>
            <a:r>
              <a:rPr lang="en-IN" smtClean="0"/>
              <a:t>Glass | Deepak Pathak | VLM Batch 13</a:t>
            </a:r>
            <a:endParaRPr lang="en-IN"/>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3715250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811338" y="2058750"/>
            <a:ext cx="9693273" cy="1468800"/>
          </a:xfrm>
        </p:spPr>
        <p:txBody>
          <a:bodyPr anchor="b"/>
          <a:lstStyle>
            <a:lvl1pPr algn="l">
              <a:defRPr sz="4000" b="0"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1811338" y="3530129"/>
            <a:ext cx="9693273"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Edit Master text styles</a:t>
            </a:r>
          </a:p>
        </p:txBody>
      </p:sp>
      <p:sp>
        <p:nvSpPr>
          <p:cNvPr id="4" name="Date Placeholder 3"/>
          <p:cNvSpPr>
            <a:spLocks noGrp="1"/>
          </p:cNvSpPr>
          <p:nvPr>
            <p:ph type="dt" sz="half" idx="10"/>
          </p:nvPr>
        </p:nvSpPr>
        <p:spPr/>
        <p:txBody>
          <a:bodyPr/>
          <a:lstStyle/>
          <a:p>
            <a:fld id="{2CCC8513-7682-4F57-808D-EB0A9E111C00}" type="datetime1">
              <a:rPr lang="en-IN" smtClean="0"/>
              <a:t>10-11-2020</a:t>
            </a:fld>
            <a:endParaRPr lang="en-IN"/>
          </a:p>
        </p:txBody>
      </p:sp>
      <p:sp>
        <p:nvSpPr>
          <p:cNvPr id="5" name="Footer Placeholder 4"/>
          <p:cNvSpPr>
            <a:spLocks noGrp="1"/>
          </p:cNvSpPr>
          <p:nvPr>
            <p:ph type="ftr" sz="quarter" idx="11"/>
          </p:nvPr>
        </p:nvSpPr>
        <p:spPr/>
        <p:txBody>
          <a:bodyPr/>
          <a:lstStyle/>
          <a:p>
            <a:r>
              <a:rPr lang="en-IN" smtClean="0"/>
              <a:t>Glass | Deepak Pathak | VLM Batch 13</a:t>
            </a:r>
            <a:endParaRPr lang="en-IN"/>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1025887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811337" y="1628775"/>
            <a:ext cx="4649097" cy="4679950"/>
          </a:xfrm>
        </p:spPr>
        <p:txBody>
          <a:bodyPr>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927574" y="1628775"/>
            <a:ext cx="4577037" cy="4679950"/>
          </a:xfrm>
        </p:spPr>
        <p:txBody>
          <a:bodyP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F931875C-8F45-4F58-81CC-D30638DFF101}" type="datetime1">
              <a:rPr lang="en-IN" smtClean="0"/>
              <a:t>10-11-2020</a:t>
            </a:fld>
            <a:endParaRPr lang="en-IN"/>
          </a:p>
        </p:txBody>
      </p:sp>
      <p:sp>
        <p:nvSpPr>
          <p:cNvPr id="6" name="Footer Placeholder 5"/>
          <p:cNvSpPr>
            <a:spLocks noGrp="1"/>
          </p:cNvSpPr>
          <p:nvPr>
            <p:ph type="ftr" sz="quarter" idx="11"/>
          </p:nvPr>
        </p:nvSpPr>
        <p:spPr/>
        <p:txBody>
          <a:bodyPr/>
          <a:lstStyle/>
          <a:p>
            <a:r>
              <a:rPr lang="en-IN" smtClean="0"/>
              <a:t>Glass | Deepak Pathak | VLM Batch 13</a:t>
            </a:r>
            <a:endParaRPr lang="en-IN"/>
          </a:p>
        </p:txBody>
      </p:sp>
      <p:sp>
        <p:nvSpPr>
          <p:cNvPr id="10"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531812" y="787782"/>
            <a:ext cx="779767" cy="365125"/>
          </a:xfrm>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37203144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2223742" y="1651427"/>
            <a:ext cx="4196936"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1811338" y="2227689"/>
            <a:ext cx="4609340" cy="4081035"/>
          </a:xfrm>
        </p:spPr>
        <p:txBody>
          <a:bodyP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7198517" y="1651427"/>
            <a:ext cx="428205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858844" y="2227689"/>
            <a:ext cx="4645767" cy="4081035"/>
          </a:xfrm>
        </p:spPr>
        <p:txBody>
          <a:bodyP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A0C60BFF-0124-4099-8802-1EF8E1107B5C}" type="datetime1">
              <a:rPr lang="en-IN" smtClean="0"/>
              <a:t>10-11-2020</a:t>
            </a:fld>
            <a:endParaRPr lang="en-IN"/>
          </a:p>
        </p:txBody>
      </p:sp>
      <p:sp>
        <p:nvSpPr>
          <p:cNvPr id="8" name="Footer Placeholder 7"/>
          <p:cNvSpPr>
            <a:spLocks noGrp="1"/>
          </p:cNvSpPr>
          <p:nvPr>
            <p:ph type="ftr" sz="quarter" idx="11"/>
          </p:nvPr>
        </p:nvSpPr>
        <p:spPr/>
        <p:txBody>
          <a:bodyPr/>
          <a:lstStyle/>
          <a:p>
            <a:r>
              <a:rPr lang="en-IN" smtClean="0"/>
              <a:t>Glass | Deepak Pathak | VLM Batch 13</a:t>
            </a:r>
            <a:endParaRPr lang="en-IN"/>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11644137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15D31AB7-E935-462A-B971-F9762D201400}" type="datetime1">
              <a:rPr lang="en-IN" smtClean="0"/>
              <a:t>10-11-2020</a:t>
            </a:fld>
            <a:endParaRPr lang="en-IN"/>
          </a:p>
        </p:txBody>
      </p:sp>
      <p:sp>
        <p:nvSpPr>
          <p:cNvPr id="4" name="Footer Placeholder 3"/>
          <p:cNvSpPr>
            <a:spLocks noGrp="1"/>
          </p:cNvSpPr>
          <p:nvPr>
            <p:ph type="ftr" sz="quarter" idx="11"/>
          </p:nvPr>
        </p:nvSpPr>
        <p:spPr/>
        <p:txBody>
          <a:bodyPr/>
          <a:lstStyle/>
          <a:p>
            <a:r>
              <a:rPr lang="en-IN" smtClean="0"/>
              <a:t>Glass | Deepak Pathak | VLM Batch 13</a:t>
            </a:r>
            <a:endParaRPr lang="en-IN"/>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10783662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3EB668A-3973-4233-930B-96B7FEC219DC}" type="datetime1">
              <a:rPr lang="en-IN" smtClean="0"/>
              <a:t>10-11-2020</a:t>
            </a:fld>
            <a:endParaRPr lang="en-IN"/>
          </a:p>
        </p:txBody>
      </p:sp>
      <p:sp>
        <p:nvSpPr>
          <p:cNvPr id="3" name="Footer Placeholder 2"/>
          <p:cNvSpPr>
            <a:spLocks noGrp="1"/>
          </p:cNvSpPr>
          <p:nvPr>
            <p:ph type="ftr" sz="quarter" idx="11"/>
          </p:nvPr>
        </p:nvSpPr>
        <p:spPr/>
        <p:txBody>
          <a:bodyPr/>
          <a:lstStyle/>
          <a:p>
            <a:r>
              <a:rPr lang="en-IN" smtClean="0"/>
              <a:t>Glass | Deepak Pathak | VLM Batch 13</a:t>
            </a:r>
            <a:endParaRPr lang="en-IN"/>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31563992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08922" y="446088"/>
            <a:ext cx="4285489" cy="976312"/>
          </a:xfrm>
        </p:spPr>
        <p:txBody>
          <a:bodyPr anchor="b"/>
          <a:lstStyle>
            <a:lvl1pPr algn="l">
              <a:defRPr sz="2000" b="0"/>
            </a:lvl1pPr>
          </a:lstStyle>
          <a:p>
            <a:r>
              <a:rPr lang="en-US" smtClean="0"/>
              <a:t>Click to edit Master title styl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808922" y="1598613"/>
            <a:ext cx="428548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96A7322E-DFAD-4EEA-8459-337D5BBEC7FE}" type="datetime1">
              <a:rPr lang="en-IN" smtClean="0"/>
              <a:t>10-11-2020</a:t>
            </a:fld>
            <a:endParaRPr lang="en-IN"/>
          </a:p>
        </p:txBody>
      </p:sp>
      <p:sp>
        <p:nvSpPr>
          <p:cNvPr id="6" name="Footer Placeholder 5"/>
          <p:cNvSpPr>
            <a:spLocks noGrp="1"/>
          </p:cNvSpPr>
          <p:nvPr>
            <p:ph type="ftr" sz="quarter" idx="11"/>
          </p:nvPr>
        </p:nvSpPr>
        <p:spPr/>
        <p:txBody>
          <a:bodyPr/>
          <a:lstStyle/>
          <a:p>
            <a:r>
              <a:rPr lang="en-IN" smtClean="0"/>
              <a:t>Glass | Deepak Pathak | VLM Batch 13</a:t>
            </a:r>
            <a:endParaRPr lang="en-IN"/>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3686862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08922" y="4800600"/>
            <a:ext cx="9695691"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808921" y="634965"/>
            <a:ext cx="9695691"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269E0303-5117-458D-94FB-813328301FE7}" type="datetime1">
              <a:rPr lang="en-IN" smtClean="0"/>
              <a:t>10-11-2020</a:t>
            </a:fld>
            <a:endParaRPr lang="en-IN"/>
          </a:p>
        </p:txBody>
      </p:sp>
      <p:sp>
        <p:nvSpPr>
          <p:cNvPr id="6" name="Footer Placeholder 5"/>
          <p:cNvSpPr>
            <a:spLocks noGrp="1"/>
          </p:cNvSpPr>
          <p:nvPr>
            <p:ph type="ftr" sz="quarter" idx="11"/>
          </p:nvPr>
        </p:nvSpPr>
        <p:spPr/>
        <p:txBody>
          <a:bodyPr/>
          <a:lstStyle/>
          <a:p>
            <a:r>
              <a:rPr lang="en-IN" smtClean="0"/>
              <a:t>Glass | Deepak Pathak | VLM Batch 13</a:t>
            </a:r>
            <a:endParaRPr lang="en-IN"/>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13597825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1812960" y="345818"/>
            <a:ext cx="9691652" cy="111519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808922" y="1628775"/>
            <a:ext cx="9695690" cy="4679950"/>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364028" y="6432761"/>
            <a:ext cx="1146283" cy="288000"/>
          </a:xfrm>
          <a:prstGeom prst="rect">
            <a:avLst/>
          </a:prstGeom>
        </p:spPr>
        <p:txBody>
          <a:bodyPr vert="horz" lIns="91440" tIns="45720" rIns="91440" bIns="45720" rtlCol="0" anchor="ctr"/>
          <a:lstStyle>
            <a:lvl1pPr algn="r">
              <a:defRPr sz="900">
                <a:solidFill>
                  <a:schemeClr val="tx1">
                    <a:tint val="75000"/>
                  </a:schemeClr>
                </a:solidFill>
              </a:defRPr>
            </a:lvl1pPr>
          </a:lstStyle>
          <a:p>
            <a:fld id="{C8EAA6E9-3696-4621-BFCF-D44EF5095BDD}" type="datetime1">
              <a:rPr lang="en-IN" smtClean="0"/>
              <a:t>10-11-2020</a:t>
            </a:fld>
            <a:endParaRPr lang="en-IN"/>
          </a:p>
        </p:txBody>
      </p:sp>
      <p:sp>
        <p:nvSpPr>
          <p:cNvPr id="5" name="Footer Placeholder 4"/>
          <p:cNvSpPr>
            <a:spLocks noGrp="1"/>
          </p:cNvSpPr>
          <p:nvPr>
            <p:ph type="ftr" sz="quarter" idx="3"/>
          </p:nvPr>
        </p:nvSpPr>
        <p:spPr>
          <a:xfrm>
            <a:off x="1811338" y="6432761"/>
            <a:ext cx="8400289" cy="288000"/>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IN" smtClean="0"/>
              <a:t>Glass | Deepak Pathak | VLM Batch 13</a:t>
            </a:r>
            <a:endParaRPr lang="en-IN"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b="1">
                <a:solidFill>
                  <a:srgbClr val="FEFFFF"/>
                </a:solidFill>
              </a:defRPr>
            </a:lvl1pPr>
          </a:lstStyle>
          <a:p>
            <a:fld id="{919B753E-A5E7-4674-ACC8-1711CA16ACCF}" type="slidenum">
              <a:rPr lang="en-IN" smtClean="0"/>
              <a:pPr/>
              <a:t>‹#›</a:t>
            </a:fld>
            <a:endParaRPr lang="en-IN" dirty="0"/>
          </a:p>
        </p:txBody>
      </p:sp>
      <p:pic>
        <p:nvPicPr>
          <p:cNvPr id="36" name="Picture 35"/>
          <p:cNvPicPr/>
          <p:nvPr userDrawn="1"/>
        </p:nvPicPr>
        <p:blipFill>
          <a:blip r:embed="rId18" cstate="print">
            <a:extLst>
              <a:ext uri="{BEBA8EAE-BF5A-486C-A8C5-ECC9F3942E4B}">
                <a14:imgProps xmlns:a14="http://schemas.microsoft.com/office/drawing/2010/main">
                  <a14:imgLayer r:embed="rId19">
                    <a14:imgEffect>
                      <a14:backgroundRemoval t="0" b="99130" l="0" r="100000"/>
                    </a14:imgEffect>
                  </a14:imgLayer>
                </a14:imgProps>
              </a:ext>
              <a:ext uri="{28A0092B-C50C-407E-A947-70E740481C1C}">
                <a14:useLocalDpi xmlns:a14="http://schemas.microsoft.com/office/drawing/2010/main" val="0"/>
              </a:ext>
            </a:extLst>
          </a:blip>
          <a:stretch>
            <a:fillRect/>
          </a:stretch>
        </p:blipFill>
        <p:spPr>
          <a:xfrm>
            <a:off x="11320670" y="69946"/>
            <a:ext cx="765443" cy="615854"/>
          </a:xfrm>
          <a:prstGeom prst="rect">
            <a:avLst/>
          </a:prstGeom>
        </p:spPr>
      </p:pic>
    </p:spTree>
    <p:extLst>
      <p:ext uri="{BB962C8B-B14F-4D97-AF65-F5344CB8AC3E}">
        <p14:creationId xmlns:p14="http://schemas.microsoft.com/office/powerpoint/2010/main" val="1514611361"/>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Lst>
  <p:hf hdr="0" dt="0"/>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userDrawn="1">
          <p15:clr>
            <a:srgbClr val="F26B43"/>
          </p15:clr>
        </p15:guide>
        <p15:guide id="2" pos="1141" userDrawn="1">
          <p15:clr>
            <a:srgbClr val="F26B43"/>
          </p15:clr>
        </p15:guide>
        <p15:guide id="3" orient="horz" pos="1026" userDrawn="1">
          <p15:clr>
            <a:srgbClr val="F26B43"/>
          </p15:clr>
        </p15:guide>
        <p15:guide id="4" orient="horz" pos="4042" userDrawn="1">
          <p15:clr>
            <a:srgbClr val="F26B43"/>
          </p15:clr>
        </p15:guide>
        <p15:guide id="5" orient="horz" pos="3974" userDrawn="1">
          <p15:clr>
            <a:srgbClr val="F26B43"/>
          </p15:clr>
        </p15:guide>
        <p15:guide id="6" orient="horz" pos="91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46.xml"/><Relationship Id="rId21" Type="http://schemas.openxmlformats.org/officeDocument/2006/relationships/tags" Target="../tags/tag41.xml"/><Relationship Id="rId34" Type="http://schemas.openxmlformats.org/officeDocument/2006/relationships/tags" Target="../tags/tag54.xml"/><Relationship Id="rId42" Type="http://schemas.openxmlformats.org/officeDocument/2006/relationships/tags" Target="../tags/tag62.xml"/><Relationship Id="rId47" Type="http://schemas.openxmlformats.org/officeDocument/2006/relationships/tags" Target="../tags/tag67.xml"/><Relationship Id="rId50" Type="http://schemas.openxmlformats.org/officeDocument/2006/relationships/tags" Target="../tags/tag70.xml"/><Relationship Id="rId55" Type="http://schemas.openxmlformats.org/officeDocument/2006/relationships/tags" Target="../tags/tag75.xml"/><Relationship Id="rId63" Type="http://schemas.openxmlformats.org/officeDocument/2006/relationships/tags" Target="../tags/tag83.xml"/><Relationship Id="rId68" Type="http://schemas.openxmlformats.org/officeDocument/2006/relationships/slideLayout" Target="../slideLayouts/slideLayout2.xml"/><Relationship Id="rId7" Type="http://schemas.openxmlformats.org/officeDocument/2006/relationships/tags" Target="../tags/tag27.xml"/><Relationship Id="rId2" Type="http://schemas.openxmlformats.org/officeDocument/2006/relationships/tags" Target="../tags/tag22.xml"/><Relationship Id="rId16" Type="http://schemas.openxmlformats.org/officeDocument/2006/relationships/tags" Target="../tags/tag36.xml"/><Relationship Id="rId29" Type="http://schemas.openxmlformats.org/officeDocument/2006/relationships/tags" Target="../tags/tag49.xml"/><Relationship Id="rId11" Type="http://schemas.openxmlformats.org/officeDocument/2006/relationships/tags" Target="../tags/tag31.xml"/><Relationship Id="rId24" Type="http://schemas.openxmlformats.org/officeDocument/2006/relationships/tags" Target="../tags/tag44.xml"/><Relationship Id="rId32" Type="http://schemas.openxmlformats.org/officeDocument/2006/relationships/tags" Target="../tags/tag52.xml"/><Relationship Id="rId37" Type="http://schemas.openxmlformats.org/officeDocument/2006/relationships/tags" Target="../tags/tag57.xml"/><Relationship Id="rId40" Type="http://schemas.openxmlformats.org/officeDocument/2006/relationships/tags" Target="../tags/tag60.xml"/><Relationship Id="rId45" Type="http://schemas.openxmlformats.org/officeDocument/2006/relationships/tags" Target="../tags/tag65.xml"/><Relationship Id="rId53" Type="http://schemas.openxmlformats.org/officeDocument/2006/relationships/tags" Target="../tags/tag73.xml"/><Relationship Id="rId58" Type="http://schemas.openxmlformats.org/officeDocument/2006/relationships/tags" Target="../tags/tag78.xml"/><Relationship Id="rId66" Type="http://schemas.openxmlformats.org/officeDocument/2006/relationships/tags" Target="../tags/tag86.xml"/><Relationship Id="rId5" Type="http://schemas.openxmlformats.org/officeDocument/2006/relationships/tags" Target="../tags/tag25.xml"/><Relationship Id="rId61" Type="http://schemas.openxmlformats.org/officeDocument/2006/relationships/tags" Target="../tags/tag81.xml"/><Relationship Id="rId19" Type="http://schemas.openxmlformats.org/officeDocument/2006/relationships/tags" Target="../tags/tag39.xml"/><Relationship Id="rId14" Type="http://schemas.openxmlformats.org/officeDocument/2006/relationships/tags" Target="../tags/tag34.xml"/><Relationship Id="rId22" Type="http://schemas.openxmlformats.org/officeDocument/2006/relationships/tags" Target="../tags/tag42.xml"/><Relationship Id="rId27" Type="http://schemas.openxmlformats.org/officeDocument/2006/relationships/tags" Target="../tags/tag47.xml"/><Relationship Id="rId30" Type="http://schemas.openxmlformats.org/officeDocument/2006/relationships/tags" Target="../tags/tag50.xml"/><Relationship Id="rId35" Type="http://schemas.openxmlformats.org/officeDocument/2006/relationships/tags" Target="../tags/tag55.xml"/><Relationship Id="rId43" Type="http://schemas.openxmlformats.org/officeDocument/2006/relationships/tags" Target="../tags/tag63.xml"/><Relationship Id="rId48" Type="http://schemas.openxmlformats.org/officeDocument/2006/relationships/tags" Target="../tags/tag68.xml"/><Relationship Id="rId56" Type="http://schemas.openxmlformats.org/officeDocument/2006/relationships/tags" Target="../tags/tag76.xml"/><Relationship Id="rId64" Type="http://schemas.openxmlformats.org/officeDocument/2006/relationships/tags" Target="../tags/tag84.xml"/><Relationship Id="rId8" Type="http://schemas.openxmlformats.org/officeDocument/2006/relationships/tags" Target="../tags/tag28.xml"/><Relationship Id="rId51" Type="http://schemas.openxmlformats.org/officeDocument/2006/relationships/tags" Target="../tags/tag71.xml"/><Relationship Id="rId3" Type="http://schemas.openxmlformats.org/officeDocument/2006/relationships/tags" Target="../tags/tag23.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tags" Target="../tags/tag45.xml"/><Relationship Id="rId33" Type="http://schemas.openxmlformats.org/officeDocument/2006/relationships/tags" Target="../tags/tag53.xml"/><Relationship Id="rId38" Type="http://schemas.openxmlformats.org/officeDocument/2006/relationships/tags" Target="../tags/tag58.xml"/><Relationship Id="rId46" Type="http://schemas.openxmlformats.org/officeDocument/2006/relationships/tags" Target="../tags/tag66.xml"/><Relationship Id="rId59" Type="http://schemas.openxmlformats.org/officeDocument/2006/relationships/tags" Target="../tags/tag79.xml"/><Relationship Id="rId67" Type="http://schemas.openxmlformats.org/officeDocument/2006/relationships/tags" Target="../tags/tag87.xml"/><Relationship Id="rId20" Type="http://schemas.openxmlformats.org/officeDocument/2006/relationships/tags" Target="../tags/tag40.xml"/><Relationship Id="rId41" Type="http://schemas.openxmlformats.org/officeDocument/2006/relationships/tags" Target="../tags/tag61.xml"/><Relationship Id="rId54" Type="http://schemas.openxmlformats.org/officeDocument/2006/relationships/tags" Target="../tags/tag74.xml"/><Relationship Id="rId62" Type="http://schemas.openxmlformats.org/officeDocument/2006/relationships/tags" Target="../tags/tag82.xml"/><Relationship Id="rId1" Type="http://schemas.openxmlformats.org/officeDocument/2006/relationships/tags" Target="../tags/tag21.xml"/><Relationship Id="rId6" Type="http://schemas.openxmlformats.org/officeDocument/2006/relationships/tags" Target="../tags/tag26.xml"/><Relationship Id="rId15" Type="http://schemas.openxmlformats.org/officeDocument/2006/relationships/tags" Target="../tags/tag35.xml"/><Relationship Id="rId23" Type="http://schemas.openxmlformats.org/officeDocument/2006/relationships/tags" Target="../tags/tag43.xml"/><Relationship Id="rId28" Type="http://schemas.openxmlformats.org/officeDocument/2006/relationships/tags" Target="../tags/tag48.xml"/><Relationship Id="rId36" Type="http://schemas.openxmlformats.org/officeDocument/2006/relationships/tags" Target="../tags/tag56.xml"/><Relationship Id="rId49" Type="http://schemas.openxmlformats.org/officeDocument/2006/relationships/tags" Target="../tags/tag69.xml"/><Relationship Id="rId57" Type="http://schemas.openxmlformats.org/officeDocument/2006/relationships/tags" Target="../tags/tag77.xml"/><Relationship Id="rId10" Type="http://schemas.openxmlformats.org/officeDocument/2006/relationships/tags" Target="../tags/tag30.xml"/><Relationship Id="rId31" Type="http://schemas.openxmlformats.org/officeDocument/2006/relationships/tags" Target="../tags/tag51.xml"/><Relationship Id="rId44" Type="http://schemas.openxmlformats.org/officeDocument/2006/relationships/tags" Target="../tags/tag64.xml"/><Relationship Id="rId52" Type="http://schemas.openxmlformats.org/officeDocument/2006/relationships/tags" Target="../tags/tag72.xml"/><Relationship Id="rId60" Type="http://schemas.openxmlformats.org/officeDocument/2006/relationships/tags" Target="../tags/tag80.xml"/><Relationship Id="rId65" Type="http://schemas.openxmlformats.org/officeDocument/2006/relationships/tags" Target="../tags/tag85.xml"/><Relationship Id="rId4" Type="http://schemas.openxmlformats.org/officeDocument/2006/relationships/tags" Target="../tags/tag24.xml"/><Relationship Id="rId9" Type="http://schemas.openxmlformats.org/officeDocument/2006/relationships/tags" Target="../tags/tag29.xml"/><Relationship Id="rId13" Type="http://schemas.openxmlformats.org/officeDocument/2006/relationships/tags" Target="../tags/tag33.xml"/><Relationship Id="rId18" Type="http://schemas.openxmlformats.org/officeDocument/2006/relationships/tags" Target="../tags/tag38.xml"/><Relationship Id="rId39" Type="http://schemas.openxmlformats.org/officeDocument/2006/relationships/tags" Target="../tags/tag59.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13" Type="http://schemas.openxmlformats.org/officeDocument/2006/relationships/tags" Target="../tags/tag99.xml"/><Relationship Id="rId18" Type="http://schemas.openxmlformats.org/officeDocument/2006/relationships/tags" Target="../tags/tag104.xml"/><Relationship Id="rId26" Type="http://schemas.openxmlformats.org/officeDocument/2006/relationships/tags" Target="../tags/tag112.xml"/><Relationship Id="rId39" Type="http://schemas.openxmlformats.org/officeDocument/2006/relationships/tags" Target="../tags/tag125.xml"/><Relationship Id="rId21" Type="http://schemas.openxmlformats.org/officeDocument/2006/relationships/tags" Target="../tags/tag107.xml"/><Relationship Id="rId34" Type="http://schemas.openxmlformats.org/officeDocument/2006/relationships/tags" Target="../tags/tag120.xml"/><Relationship Id="rId42" Type="http://schemas.openxmlformats.org/officeDocument/2006/relationships/tags" Target="../tags/tag128.xml"/><Relationship Id="rId47" Type="http://schemas.openxmlformats.org/officeDocument/2006/relationships/tags" Target="../tags/tag133.xml"/><Relationship Id="rId50" Type="http://schemas.openxmlformats.org/officeDocument/2006/relationships/notesSlide" Target="../notesSlides/notesSlide1.xml"/><Relationship Id="rId7" Type="http://schemas.openxmlformats.org/officeDocument/2006/relationships/tags" Target="../tags/tag93.xml"/><Relationship Id="rId2" Type="http://schemas.openxmlformats.org/officeDocument/2006/relationships/tags" Target="../tags/tag88.xml"/><Relationship Id="rId16" Type="http://schemas.openxmlformats.org/officeDocument/2006/relationships/tags" Target="../tags/tag102.xml"/><Relationship Id="rId29" Type="http://schemas.openxmlformats.org/officeDocument/2006/relationships/tags" Target="../tags/tag115.xml"/><Relationship Id="rId11" Type="http://schemas.openxmlformats.org/officeDocument/2006/relationships/tags" Target="../tags/tag97.xml"/><Relationship Id="rId24" Type="http://schemas.openxmlformats.org/officeDocument/2006/relationships/tags" Target="../tags/tag110.xml"/><Relationship Id="rId32" Type="http://schemas.openxmlformats.org/officeDocument/2006/relationships/tags" Target="../tags/tag118.xml"/><Relationship Id="rId37" Type="http://schemas.openxmlformats.org/officeDocument/2006/relationships/tags" Target="../tags/tag123.xml"/><Relationship Id="rId40" Type="http://schemas.openxmlformats.org/officeDocument/2006/relationships/tags" Target="../tags/tag126.xml"/><Relationship Id="rId45" Type="http://schemas.openxmlformats.org/officeDocument/2006/relationships/tags" Target="../tags/tag131.xml"/><Relationship Id="rId5" Type="http://schemas.openxmlformats.org/officeDocument/2006/relationships/tags" Target="../tags/tag91.xml"/><Relationship Id="rId15" Type="http://schemas.openxmlformats.org/officeDocument/2006/relationships/tags" Target="../tags/tag101.xml"/><Relationship Id="rId23" Type="http://schemas.openxmlformats.org/officeDocument/2006/relationships/tags" Target="../tags/tag109.xml"/><Relationship Id="rId28" Type="http://schemas.openxmlformats.org/officeDocument/2006/relationships/tags" Target="../tags/tag114.xml"/><Relationship Id="rId36" Type="http://schemas.openxmlformats.org/officeDocument/2006/relationships/tags" Target="../tags/tag122.xml"/><Relationship Id="rId49" Type="http://schemas.openxmlformats.org/officeDocument/2006/relationships/slideLayout" Target="../slideLayouts/slideLayout2.xml"/><Relationship Id="rId10" Type="http://schemas.openxmlformats.org/officeDocument/2006/relationships/tags" Target="../tags/tag96.xml"/><Relationship Id="rId19" Type="http://schemas.openxmlformats.org/officeDocument/2006/relationships/tags" Target="../tags/tag105.xml"/><Relationship Id="rId31" Type="http://schemas.openxmlformats.org/officeDocument/2006/relationships/tags" Target="../tags/tag117.xml"/><Relationship Id="rId44" Type="http://schemas.openxmlformats.org/officeDocument/2006/relationships/tags" Target="../tags/tag130.xml"/><Relationship Id="rId52" Type="http://schemas.openxmlformats.org/officeDocument/2006/relationships/image" Target="../media/image8.emf"/><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tags" Target="../tags/tag108.xml"/><Relationship Id="rId27" Type="http://schemas.openxmlformats.org/officeDocument/2006/relationships/tags" Target="../tags/tag113.xml"/><Relationship Id="rId30" Type="http://schemas.openxmlformats.org/officeDocument/2006/relationships/tags" Target="../tags/tag116.xml"/><Relationship Id="rId35" Type="http://schemas.openxmlformats.org/officeDocument/2006/relationships/tags" Target="../tags/tag121.xml"/><Relationship Id="rId43" Type="http://schemas.openxmlformats.org/officeDocument/2006/relationships/tags" Target="../tags/tag129.xml"/><Relationship Id="rId48" Type="http://schemas.openxmlformats.org/officeDocument/2006/relationships/tags" Target="../tags/tag134.xml"/><Relationship Id="rId8" Type="http://schemas.openxmlformats.org/officeDocument/2006/relationships/tags" Target="../tags/tag94.xml"/><Relationship Id="rId51" Type="http://schemas.openxmlformats.org/officeDocument/2006/relationships/oleObject" Target="../embeddings/oleObject1.bin"/><Relationship Id="rId3" Type="http://schemas.openxmlformats.org/officeDocument/2006/relationships/tags" Target="../tags/tag89.xml"/><Relationship Id="rId12" Type="http://schemas.openxmlformats.org/officeDocument/2006/relationships/tags" Target="../tags/tag98.xml"/><Relationship Id="rId17" Type="http://schemas.openxmlformats.org/officeDocument/2006/relationships/tags" Target="../tags/tag103.xml"/><Relationship Id="rId25" Type="http://schemas.openxmlformats.org/officeDocument/2006/relationships/tags" Target="../tags/tag111.xml"/><Relationship Id="rId33" Type="http://schemas.openxmlformats.org/officeDocument/2006/relationships/tags" Target="../tags/tag119.xml"/><Relationship Id="rId38" Type="http://schemas.openxmlformats.org/officeDocument/2006/relationships/tags" Target="../tags/tag124.xml"/><Relationship Id="rId46" Type="http://schemas.openxmlformats.org/officeDocument/2006/relationships/tags" Target="../tags/tag132.xml"/><Relationship Id="rId20" Type="http://schemas.openxmlformats.org/officeDocument/2006/relationships/tags" Target="../tags/tag106.xml"/><Relationship Id="rId41" Type="http://schemas.openxmlformats.org/officeDocument/2006/relationships/tags" Target="../tags/tag127.xml"/><Relationship Id="rId1" Type="http://schemas.openxmlformats.org/officeDocument/2006/relationships/vmlDrawing" Target="../drawings/vmlDrawing1.vml"/><Relationship Id="rId6" Type="http://schemas.openxmlformats.org/officeDocument/2006/relationships/tags" Target="../tags/tag92.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youtu.be/JMGkbrETU8M" TargetMode="External"/><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slideLayout" Target="../slideLayouts/slideLayout2.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microsoft.com/office/2007/relationships/hdphoto" Target="../media/hdphoto2.wdp"/><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3.png"/></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11338" y="1628775"/>
            <a:ext cx="8915399" cy="2262781"/>
          </a:xfrm>
        </p:spPr>
        <p:txBody>
          <a:bodyPr anchor="t"/>
          <a:lstStyle/>
          <a:p>
            <a:r>
              <a:rPr lang="en-IN" b="1" dirty="0" smtClean="0">
                <a:latin typeface="Algerian" panose="04020705040A02060702" pitchFamily="82" charset="0"/>
              </a:rPr>
              <a:t>Glass Processing</a:t>
            </a:r>
            <a:endParaRPr lang="en-IN" b="1" dirty="0">
              <a:latin typeface="Algerian" panose="04020705040A02060702" pitchFamily="82" charset="0"/>
            </a:endParaRPr>
          </a:p>
        </p:txBody>
      </p:sp>
      <p:sp>
        <p:nvSpPr>
          <p:cNvPr id="5" name="Slide Number Placeholder 4"/>
          <p:cNvSpPr>
            <a:spLocks noGrp="1"/>
          </p:cNvSpPr>
          <p:nvPr>
            <p:ph type="sldNum" sz="quarter" idx="12"/>
          </p:nvPr>
        </p:nvSpPr>
        <p:spPr/>
        <p:txBody>
          <a:bodyPr/>
          <a:lstStyle/>
          <a:p>
            <a:fld id="{919B753E-A5E7-4674-ACC8-1711CA16ACCF}" type="slidenum">
              <a:rPr lang="en-IN" smtClean="0"/>
              <a:t>1</a:t>
            </a:fld>
            <a:endParaRPr lang="en-IN"/>
          </a:p>
        </p:txBody>
      </p:sp>
      <p:sp>
        <p:nvSpPr>
          <p:cNvPr id="7" name="Subtitle 6"/>
          <p:cNvSpPr>
            <a:spLocks noGrp="1"/>
          </p:cNvSpPr>
          <p:nvPr>
            <p:ph type="subTitle" idx="1"/>
          </p:nvPr>
        </p:nvSpPr>
        <p:spPr/>
        <p:txBody>
          <a:bodyPr/>
          <a:lstStyle/>
          <a:p>
            <a:endParaRPr lang="en-US"/>
          </a:p>
        </p:txBody>
      </p:sp>
    </p:spTree>
    <p:extLst>
      <p:ext uri="{BB962C8B-B14F-4D97-AF65-F5344CB8AC3E}">
        <p14:creationId xmlns:p14="http://schemas.microsoft.com/office/powerpoint/2010/main" val="46444983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Freeform 47"/>
          <p:cNvSpPr/>
          <p:nvPr>
            <p:custDataLst>
              <p:tags r:id="rId1"/>
            </p:custDataLst>
          </p:nvPr>
        </p:nvSpPr>
        <p:spPr bwMode="auto">
          <a:xfrm>
            <a:off x="1947860" y="4527387"/>
            <a:ext cx="1735916" cy="721284"/>
          </a:xfrm>
          <a:custGeom>
            <a:avLst/>
            <a:gdLst>
              <a:gd name="connsiteX0" fmla="*/ 0 w 1547812"/>
              <a:gd name="connsiteY0" fmla="*/ 0 h 714375"/>
              <a:gd name="connsiteX1" fmla="*/ 1547812 w 1547812"/>
              <a:gd name="connsiteY1" fmla="*/ 0 h 714375"/>
              <a:gd name="connsiteX2" fmla="*/ 1414462 w 1547812"/>
              <a:gd name="connsiteY2" fmla="*/ 147638 h 714375"/>
              <a:gd name="connsiteX3" fmla="*/ 1423987 w 1547812"/>
              <a:gd name="connsiteY3" fmla="*/ 714375 h 714375"/>
              <a:gd name="connsiteX4" fmla="*/ 0 w 1547812"/>
              <a:gd name="connsiteY4" fmla="*/ 714375 h 714375"/>
              <a:gd name="connsiteX5" fmla="*/ 0 w 1547812"/>
              <a:gd name="connsiteY5"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2" h="714375">
                <a:moveTo>
                  <a:pt x="0" y="0"/>
                </a:moveTo>
                <a:lnTo>
                  <a:pt x="1547812" y="0"/>
                </a:lnTo>
                <a:lnTo>
                  <a:pt x="1414462" y="147638"/>
                </a:lnTo>
                <a:lnTo>
                  <a:pt x="1423987" y="714375"/>
                </a:lnTo>
                <a:lnTo>
                  <a:pt x="0" y="714375"/>
                </a:lnTo>
                <a:lnTo>
                  <a:pt x="0" y="0"/>
                </a:lnTo>
                <a:close/>
              </a:path>
            </a:pathLst>
          </a:custGeom>
          <a:solidFill>
            <a:schemeClr val="bg1">
              <a:lumMod val="75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2" name="Title 1"/>
          <p:cNvSpPr>
            <a:spLocks noGrp="1"/>
          </p:cNvSpPr>
          <p:nvPr>
            <p:ph type="title"/>
          </p:nvPr>
        </p:nvSpPr>
        <p:spPr/>
        <p:txBody>
          <a:bodyPr/>
          <a:lstStyle/>
          <a:p>
            <a:r>
              <a:rPr lang="en-IN" b="1" dirty="0"/>
              <a:t>Tempered glass manufacturing</a:t>
            </a:r>
          </a:p>
        </p:txBody>
      </p:sp>
      <p:sp>
        <p:nvSpPr>
          <p:cNvPr id="5" name="Slide Number Placeholder 4"/>
          <p:cNvSpPr>
            <a:spLocks noGrp="1"/>
          </p:cNvSpPr>
          <p:nvPr>
            <p:ph type="sldNum" sz="quarter" idx="12"/>
          </p:nvPr>
        </p:nvSpPr>
        <p:spPr/>
        <p:txBody>
          <a:bodyPr/>
          <a:lstStyle/>
          <a:p>
            <a:fld id="{919B753E-A5E7-4674-ACC8-1711CA16ACCF}" type="slidenum">
              <a:rPr lang="en-IN" smtClean="0"/>
              <a:t>10</a:t>
            </a:fld>
            <a:endParaRPr lang="en-IN"/>
          </a:p>
        </p:txBody>
      </p:sp>
      <p:sp>
        <p:nvSpPr>
          <p:cNvPr id="6" name="Rectangle 5"/>
          <p:cNvSpPr/>
          <p:nvPr>
            <p:custDataLst>
              <p:tags r:id="rId2"/>
            </p:custDataLst>
          </p:nvPr>
        </p:nvSpPr>
        <p:spPr bwMode="auto">
          <a:xfrm>
            <a:off x="8914364" y="4257532"/>
            <a:ext cx="1661789" cy="302990"/>
          </a:xfrm>
          <a:prstGeom prst="rect">
            <a:avLst/>
          </a:prstGeom>
          <a:pattFill prst="dkVert">
            <a:fgClr>
              <a:schemeClr val="accent6">
                <a:lumMod val="60000"/>
                <a:lumOff val="40000"/>
              </a:schemeClr>
            </a:fgClr>
            <a:bgClr>
              <a:schemeClr val="bg1">
                <a:lumMod val="95000"/>
              </a:schemeClr>
            </a:bgClr>
          </a:pattFill>
          <a:ln w="12700" cap="flat" cmpd="sng" algn="ctr">
            <a:no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7" name="Rectangle 6"/>
          <p:cNvSpPr/>
          <p:nvPr>
            <p:custDataLst>
              <p:tags r:id="rId3"/>
            </p:custDataLst>
          </p:nvPr>
        </p:nvSpPr>
        <p:spPr bwMode="auto">
          <a:xfrm>
            <a:off x="3777497" y="3440866"/>
            <a:ext cx="4295157" cy="1803042"/>
          </a:xfrm>
          <a:prstGeom prst="rect">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8" name="Rectangle 7"/>
          <p:cNvSpPr/>
          <p:nvPr>
            <p:custDataLst>
              <p:tags r:id="rId4"/>
            </p:custDataLst>
          </p:nvPr>
        </p:nvSpPr>
        <p:spPr bwMode="auto">
          <a:xfrm>
            <a:off x="3777498" y="3440866"/>
            <a:ext cx="4295156" cy="1803042"/>
          </a:xfrm>
          <a:prstGeom prst="rect">
            <a:avLst/>
          </a:prstGeom>
          <a:gradFill flip="none" rotWithShape="1">
            <a:gsLst>
              <a:gs pos="0">
                <a:srgbClr val="CCCCFF"/>
              </a:gs>
              <a:gs pos="9000">
                <a:srgbClr val="99CCFF"/>
              </a:gs>
              <a:gs pos="24000">
                <a:srgbClr val="9966FF"/>
              </a:gs>
              <a:gs pos="54000">
                <a:srgbClr val="FF3300"/>
              </a:gs>
              <a:gs pos="90000">
                <a:srgbClr val="99CCFF"/>
              </a:gs>
              <a:gs pos="100000">
                <a:srgbClr val="CCCCFF"/>
              </a:gs>
            </a:gsLst>
            <a:lin ang="5400000" scaled="0"/>
            <a:tileRect/>
          </a:gradFill>
          <a:ln w="12700" cap="flat" cmpd="sng" algn="ctr">
            <a:no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CorpoS" pitchFamily="2" charset="0"/>
            </a:endParaRPr>
          </a:p>
        </p:txBody>
      </p:sp>
      <p:sp>
        <p:nvSpPr>
          <p:cNvPr id="9" name="AutoShape 4"/>
          <p:cNvSpPr>
            <a:spLocks noChangeArrowheads="1"/>
          </p:cNvSpPr>
          <p:nvPr/>
        </p:nvSpPr>
        <p:spPr bwMode="auto">
          <a:xfrm>
            <a:off x="1897515" y="1716747"/>
            <a:ext cx="1819744" cy="301625"/>
          </a:xfrm>
          <a:prstGeom prst="homePlate">
            <a:avLst>
              <a:gd name="adj" fmla="val 26032"/>
            </a:avLst>
          </a:prstGeom>
          <a:solidFill>
            <a:schemeClr val="accent6">
              <a:lumMod val="75000"/>
            </a:schemeClr>
          </a:solidFill>
          <a:ln>
            <a:noFill/>
          </a:ln>
          <a:effectLst/>
          <a:extLst/>
        </p:spPr>
        <p:txBody>
          <a:bodyPr anchor="ctr"/>
          <a:lstStyle/>
          <a:p>
            <a:pPr algn="ctr" eaLnBrk="0" hangingPunct="0">
              <a:buFont typeface="Webdings" pitchFamily="18" charset="2"/>
              <a:buNone/>
            </a:pPr>
            <a:r>
              <a:rPr lang="de-DE" altLang="en-US" sz="1400" b="1" dirty="0">
                <a:solidFill>
                  <a:schemeClr val="bg1"/>
                </a:solidFill>
              </a:rPr>
              <a:t> </a:t>
            </a:r>
            <a:r>
              <a:rPr lang="de-DE" altLang="en-US" sz="1400" b="1" dirty="0" smtClean="0">
                <a:solidFill>
                  <a:schemeClr val="bg1"/>
                </a:solidFill>
              </a:rPr>
              <a:t>Blank </a:t>
            </a:r>
            <a:r>
              <a:rPr lang="de-DE" altLang="en-US" sz="1400" b="1" dirty="0" err="1" smtClean="0">
                <a:solidFill>
                  <a:schemeClr val="bg1"/>
                </a:solidFill>
              </a:rPr>
              <a:t>Preperation</a:t>
            </a:r>
            <a:endParaRPr lang="de-DE" altLang="en-US" sz="1400" b="1" dirty="0">
              <a:solidFill>
                <a:schemeClr val="bg1"/>
              </a:solidFill>
            </a:endParaRPr>
          </a:p>
        </p:txBody>
      </p:sp>
      <p:sp>
        <p:nvSpPr>
          <p:cNvPr id="10" name="Rectangle 9"/>
          <p:cNvSpPr/>
          <p:nvPr>
            <p:custDataLst>
              <p:tags r:id="rId5"/>
            </p:custDataLst>
          </p:nvPr>
        </p:nvSpPr>
        <p:spPr bwMode="auto">
          <a:xfrm>
            <a:off x="2211781" y="4468369"/>
            <a:ext cx="1259619" cy="45719"/>
          </a:xfrm>
          <a:prstGeom prst="rect">
            <a:avLst/>
          </a:prstGeom>
          <a:solidFill>
            <a:schemeClr val="tx2">
              <a:lumMod val="75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11" name="Freeform 10"/>
          <p:cNvSpPr/>
          <p:nvPr>
            <p:custDataLst>
              <p:tags r:id="rId6"/>
            </p:custDataLst>
          </p:nvPr>
        </p:nvSpPr>
        <p:spPr bwMode="auto">
          <a:xfrm>
            <a:off x="2230768" y="2527137"/>
            <a:ext cx="1243011" cy="576262"/>
          </a:xfrm>
          <a:custGeom>
            <a:avLst/>
            <a:gdLst>
              <a:gd name="connsiteX0" fmla="*/ 0 w 1733550"/>
              <a:gd name="connsiteY0" fmla="*/ 0 h 571500"/>
              <a:gd name="connsiteX1" fmla="*/ 1733550 w 1733550"/>
              <a:gd name="connsiteY1" fmla="*/ 0 h 571500"/>
              <a:gd name="connsiteX2" fmla="*/ 1724025 w 1733550"/>
              <a:gd name="connsiteY2" fmla="*/ 219075 h 571500"/>
              <a:gd name="connsiteX3" fmla="*/ 1381125 w 1733550"/>
              <a:gd name="connsiteY3" fmla="*/ 323850 h 571500"/>
              <a:gd name="connsiteX4" fmla="*/ 1381125 w 1733550"/>
              <a:gd name="connsiteY4" fmla="*/ 571500 h 571500"/>
              <a:gd name="connsiteX5" fmla="*/ 19050 w 1733550"/>
              <a:gd name="connsiteY5" fmla="*/ 571500 h 571500"/>
              <a:gd name="connsiteX6" fmla="*/ 0 w 1733550"/>
              <a:gd name="connsiteY6" fmla="*/ 0 h 571500"/>
              <a:gd name="connsiteX0" fmla="*/ 0 w 1733550"/>
              <a:gd name="connsiteY0" fmla="*/ 0 h 571500"/>
              <a:gd name="connsiteX1" fmla="*/ 1733550 w 1733550"/>
              <a:gd name="connsiteY1" fmla="*/ 0 h 571500"/>
              <a:gd name="connsiteX2" fmla="*/ 1724025 w 1733550"/>
              <a:gd name="connsiteY2" fmla="*/ 219075 h 571500"/>
              <a:gd name="connsiteX3" fmla="*/ 1381125 w 1733550"/>
              <a:gd name="connsiteY3" fmla="*/ 323850 h 571500"/>
              <a:gd name="connsiteX4" fmla="*/ 1071046 w 1733550"/>
              <a:gd name="connsiteY4" fmla="*/ 571500 h 571500"/>
              <a:gd name="connsiteX5" fmla="*/ 19050 w 1733550"/>
              <a:gd name="connsiteY5" fmla="*/ 571500 h 571500"/>
              <a:gd name="connsiteX6" fmla="*/ 0 w 1733550"/>
              <a:gd name="connsiteY6" fmla="*/ 0 h 571500"/>
              <a:gd name="connsiteX0" fmla="*/ 0 w 1733550"/>
              <a:gd name="connsiteY0" fmla="*/ 0 h 571500"/>
              <a:gd name="connsiteX1" fmla="*/ 1733550 w 1733550"/>
              <a:gd name="connsiteY1" fmla="*/ 0 h 571500"/>
              <a:gd name="connsiteX2" fmla="*/ 1724025 w 1733550"/>
              <a:gd name="connsiteY2" fmla="*/ 219075 h 571500"/>
              <a:gd name="connsiteX3" fmla="*/ 1197897 w 1733550"/>
              <a:gd name="connsiteY3" fmla="*/ 304800 h 571500"/>
              <a:gd name="connsiteX4" fmla="*/ 1071046 w 1733550"/>
              <a:gd name="connsiteY4" fmla="*/ 571500 h 571500"/>
              <a:gd name="connsiteX5" fmla="*/ 19050 w 1733550"/>
              <a:gd name="connsiteY5" fmla="*/ 571500 h 571500"/>
              <a:gd name="connsiteX6" fmla="*/ 0 w 1733550"/>
              <a:gd name="connsiteY6" fmla="*/ 0 h 571500"/>
              <a:gd name="connsiteX0" fmla="*/ 107800 w 1841350"/>
              <a:gd name="connsiteY0" fmla="*/ 0 h 576262"/>
              <a:gd name="connsiteX1" fmla="*/ 1841350 w 1841350"/>
              <a:gd name="connsiteY1" fmla="*/ 0 h 576262"/>
              <a:gd name="connsiteX2" fmla="*/ 1831825 w 1841350"/>
              <a:gd name="connsiteY2" fmla="*/ 219075 h 576262"/>
              <a:gd name="connsiteX3" fmla="*/ 1305697 w 1841350"/>
              <a:gd name="connsiteY3" fmla="*/ 304800 h 576262"/>
              <a:gd name="connsiteX4" fmla="*/ 1178846 w 1841350"/>
              <a:gd name="connsiteY4" fmla="*/ 571500 h 576262"/>
              <a:gd name="connsiteX5" fmla="*/ 0 w 1841350"/>
              <a:gd name="connsiteY5" fmla="*/ 576262 h 576262"/>
              <a:gd name="connsiteX6" fmla="*/ 107800 w 1841350"/>
              <a:gd name="connsiteY6" fmla="*/ 0 h 576262"/>
              <a:gd name="connsiteX0" fmla="*/ 9139 w 1841350"/>
              <a:gd name="connsiteY0" fmla="*/ 4763 h 576262"/>
              <a:gd name="connsiteX1" fmla="*/ 1841350 w 1841350"/>
              <a:gd name="connsiteY1" fmla="*/ 0 h 576262"/>
              <a:gd name="connsiteX2" fmla="*/ 1831825 w 1841350"/>
              <a:gd name="connsiteY2" fmla="*/ 219075 h 576262"/>
              <a:gd name="connsiteX3" fmla="*/ 1305697 w 1841350"/>
              <a:gd name="connsiteY3" fmla="*/ 304800 h 576262"/>
              <a:gd name="connsiteX4" fmla="*/ 1178846 w 1841350"/>
              <a:gd name="connsiteY4" fmla="*/ 571500 h 576262"/>
              <a:gd name="connsiteX5" fmla="*/ 0 w 1841350"/>
              <a:gd name="connsiteY5" fmla="*/ 576262 h 576262"/>
              <a:gd name="connsiteX6" fmla="*/ 9139 w 1841350"/>
              <a:gd name="connsiteY6" fmla="*/ 4763 h 576262"/>
              <a:gd name="connsiteX0" fmla="*/ 9139 w 1841350"/>
              <a:gd name="connsiteY0" fmla="*/ 4763 h 576262"/>
              <a:gd name="connsiteX1" fmla="*/ 213437 w 1841350"/>
              <a:gd name="connsiteY1" fmla="*/ 4763 h 576262"/>
              <a:gd name="connsiteX2" fmla="*/ 1841350 w 1841350"/>
              <a:gd name="connsiteY2" fmla="*/ 0 h 576262"/>
              <a:gd name="connsiteX3" fmla="*/ 1831825 w 1841350"/>
              <a:gd name="connsiteY3" fmla="*/ 219075 h 576262"/>
              <a:gd name="connsiteX4" fmla="*/ 1305697 w 1841350"/>
              <a:gd name="connsiteY4" fmla="*/ 304800 h 576262"/>
              <a:gd name="connsiteX5" fmla="*/ 1178846 w 1841350"/>
              <a:gd name="connsiteY5" fmla="*/ 571500 h 576262"/>
              <a:gd name="connsiteX6" fmla="*/ 0 w 1841350"/>
              <a:gd name="connsiteY6" fmla="*/ 576262 h 576262"/>
              <a:gd name="connsiteX7" fmla="*/ 9139 w 1841350"/>
              <a:gd name="connsiteY7" fmla="*/ 4763 h 576262"/>
              <a:gd name="connsiteX0" fmla="*/ 9139 w 1841350"/>
              <a:gd name="connsiteY0" fmla="*/ 4763 h 576262"/>
              <a:gd name="connsiteX1" fmla="*/ 213437 w 1841350"/>
              <a:gd name="connsiteY1" fmla="*/ 4763 h 576262"/>
              <a:gd name="connsiteX2" fmla="*/ 1841350 w 1841350"/>
              <a:gd name="connsiteY2" fmla="*/ 0 h 576262"/>
              <a:gd name="connsiteX3" fmla="*/ 1831825 w 1841350"/>
              <a:gd name="connsiteY3" fmla="*/ 219075 h 576262"/>
              <a:gd name="connsiteX4" fmla="*/ 1305697 w 1841350"/>
              <a:gd name="connsiteY4" fmla="*/ 304800 h 576262"/>
              <a:gd name="connsiteX5" fmla="*/ 1178846 w 1841350"/>
              <a:gd name="connsiteY5" fmla="*/ 571500 h 576262"/>
              <a:gd name="connsiteX6" fmla="*/ 0 w 1841350"/>
              <a:gd name="connsiteY6" fmla="*/ 576262 h 576262"/>
              <a:gd name="connsiteX7" fmla="*/ 9066 w 1841350"/>
              <a:gd name="connsiteY7" fmla="*/ 80963 h 576262"/>
              <a:gd name="connsiteX8" fmla="*/ 9139 w 1841350"/>
              <a:gd name="connsiteY8" fmla="*/ 4763 h 576262"/>
              <a:gd name="connsiteX0" fmla="*/ 9139 w 1841350"/>
              <a:gd name="connsiteY0" fmla="*/ 4763 h 576262"/>
              <a:gd name="connsiteX1" fmla="*/ 213437 w 1841350"/>
              <a:gd name="connsiteY1" fmla="*/ 4763 h 576262"/>
              <a:gd name="connsiteX2" fmla="*/ 1841350 w 1841350"/>
              <a:gd name="connsiteY2" fmla="*/ 0 h 576262"/>
              <a:gd name="connsiteX3" fmla="*/ 1831825 w 1841350"/>
              <a:gd name="connsiteY3" fmla="*/ 219075 h 576262"/>
              <a:gd name="connsiteX4" fmla="*/ 1305697 w 1841350"/>
              <a:gd name="connsiteY4" fmla="*/ 304800 h 576262"/>
              <a:gd name="connsiteX5" fmla="*/ 1178846 w 1841350"/>
              <a:gd name="connsiteY5" fmla="*/ 571500 h 576262"/>
              <a:gd name="connsiteX6" fmla="*/ 0 w 1841350"/>
              <a:gd name="connsiteY6" fmla="*/ 576262 h 576262"/>
              <a:gd name="connsiteX7" fmla="*/ 9066 w 1841350"/>
              <a:gd name="connsiteY7" fmla="*/ 500063 h 576262"/>
              <a:gd name="connsiteX8" fmla="*/ 9066 w 1841350"/>
              <a:gd name="connsiteY8" fmla="*/ 80963 h 576262"/>
              <a:gd name="connsiteX9" fmla="*/ 9139 w 1841350"/>
              <a:gd name="connsiteY9" fmla="*/ 4763 h 576262"/>
              <a:gd name="connsiteX0" fmla="*/ 9139 w 1841350"/>
              <a:gd name="connsiteY0" fmla="*/ 4763 h 576262"/>
              <a:gd name="connsiteX1" fmla="*/ 213437 w 1841350"/>
              <a:gd name="connsiteY1" fmla="*/ 4763 h 576262"/>
              <a:gd name="connsiteX2" fmla="*/ 1841350 w 1841350"/>
              <a:gd name="connsiteY2" fmla="*/ 0 h 576262"/>
              <a:gd name="connsiteX3" fmla="*/ 1831825 w 1841350"/>
              <a:gd name="connsiteY3" fmla="*/ 219075 h 576262"/>
              <a:gd name="connsiteX4" fmla="*/ 1305697 w 1841350"/>
              <a:gd name="connsiteY4" fmla="*/ 304800 h 576262"/>
              <a:gd name="connsiteX5" fmla="*/ 1178846 w 1841350"/>
              <a:gd name="connsiteY5" fmla="*/ 571500 h 576262"/>
              <a:gd name="connsiteX6" fmla="*/ 128870 w 1841350"/>
              <a:gd name="connsiteY6" fmla="*/ 571500 h 576262"/>
              <a:gd name="connsiteX7" fmla="*/ 0 w 1841350"/>
              <a:gd name="connsiteY7" fmla="*/ 576262 h 576262"/>
              <a:gd name="connsiteX8" fmla="*/ 9066 w 1841350"/>
              <a:gd name="connsiteY8" fmla="*/ 500063 h 576262"/>
              <a:gd name="connsiteX9" fmla="*/ 9066 w 1841350"/>
              <a:gd name="connsiteY9" fmla="*/ 80963 h 576262"/>
              <a:gd name="connsiteX10" fmla="*/ 9139 w 1841350"/>
              <a:gd name="connsiteY10" fmla="*/ 4763 h 576262"/>
              <a:gd name="connsiteX0" fmla="*/ 73 w 1832284"/>
              <a:gd name="connsiteY0" fmla="*/ 4763 h 571500"/>
              <a:gd name="connsiteX1" fmla="*/ 204371 w 1832284"/>
              <a:gd name="connsiteY1" fmla="*/ 4763 h 571500"/>
              <a:gd name="connsiteX2" fmla="*/ 1832284 w 1832284"/>
              <a:gd name="connsiteY2" fmla="*/ 0 h 571500"/>
              <a:gd name="connsiteX3" fmla="*/ 1822759 w 1832284"/>
              <a:gd name="connsiteY3" fmla="*/ 219075 h 571500"/>
              <a:gd name="connsiteX4" fmla="*/ 1296631 w 1832284"/>
              <a:gd name="connsiteY4" fmla="*/ 304800 h 571500"/>
              <a:gd name="connsiteX5" fmla="*/ 1169780 w 1832284"/>
              <a:gd name="connsiteY5" fmla="*/ 571500 h 571500"/>
              <a:gd name="connsiteX6" fmla="*/ 119804 w 1832284"/>
              <a:gd name="connsiteY6" fmla="*/ 571500 h 571500"/>
              <a:gd name="connsiteX7" fmla="*/ 0 w 1832284"/>
              <a:gd name="connsiteY7" fmla="*/ 500063 h 571500"/>
              <a:gd name="connsiteX8" fmla="*/ 0 w 1832284"/>
              <a:gd name="connsiteY8" fmla="*/ 80963 h 571500"/>
              <a:gd name="connsiteX9" fmla="*/ 73 w 1832284"/>
              <a:gd name="connsiteY9" fmla="*/ 4763 h 571500"/>
              <a:gd name="connsiteX0" fmla="*/ 1426 w 1833710"/>
              <a:gd name="connsiteY0" fmla="*/ 80963 h 571500"/>
              <a:gd name="connsiteX1" fmla="*/ 205797 w 1833710"/>
              <a:gd name="connsiteY1" fmla="*/ 4763 h 571500"/>
              <a:gd name="connsiteX2" fmla="*/ 1833710 w 1833710"/>
              <a:gd name="connsiteY2" fmla="*/ 0 h 571500"/>
              <a:gd name="connsiteX3" fmla="*/ 1824185 w 1833710"/>
              <a:gd name="connsiteY3" fmla="*/ 219075 h 571500"/>
              <a:gd name="connsiteX4" fmla="*/ 1298057 w 1833710"/>
              <a:gd name="connsiteY4" fmla="*/ 304800 h 571500"/>
              <a:gd name="connsiteX5" fmla="*/ 1171206 w 1833710"/>
              <a:gd name="connsiteY5" fmla="*/ 571500 h 571500"/>
              <a:gd name="connsiteX6" fmla="*/ 121230 w 1833710"/>
              <a:gd name="connsiteY6" fmla="*/ 571500 h 571500"/>
              <a:gd name="connsiteX7" fmla="*/ 1426 w 1833710"/>
              <a:gd name="connsiteY7" fmla="*/ 500063 h 571500"/>
              <a:gd name="connsiteX8" fmla="*/ 1426 w 1833710"/>
              <a:gd name="connsiteY8" fmla="*/ 80963 h 571500"/>
              <a:gd name="connsiteX0" fmla="*/ 0 w 1839330"/>
              <a:gd name="connsiteY0" fmla="*/ 133350 h 571500"/>
              <a:gd name="connsiteX1" fmla="*/ 211417 w 1839330"/>
              <a:gd name="connsiteY1" fmla="*/ 4763 h 571500"/>
              <a:gd name="connsiteX2" fmla="*/ 1839330 w 1839330"/>
              <a:gd name="connsiteY2" fmla="*/ 0 h 571500"/>
              <a:gd name="connsiteX3" fmla="*/ 1829805 w 1839330"/>
              <a:gd name="connsiteY3" fmla="*/ 219075 h 571500"/>
              <a:gd name="connsiteX4" fmla="*/ 1303677 w 1839330"/>
              <a:gd name="connsiteY4" fmla="*/ 304800 h 571500"/>
              <a:gd name="connsiteX5" fmla="*/ 1176826 w 1839330"/>
              <a:gd name="connsiteY5" fmla="*/ 571500 h 571500"/>
              <a:gd name="connsiteX6" fmla="*/ 126850 w 1839330"/>
              <a:gd name="connsiteY6" fmla="*/ 571500 h 571500"/>
              <a:gd name="connsiteX7" fmla="*/ 7046 w 1839330"/>
              <a:gd name="connsiteY7" fmla="*/ 500063 h 571500"/>
              <a:gd name="connsiteX8" fmla="*/ 0 w 1839330"/>
              <a:gd name="connsiteY8" fmla="*/ 133350 h 571500"/>
              <a:gd name="connsiteX0" fmla="*/ 0 w 1839330"/>
              <a:gd name="connsiteY0" fmla="*/ 133350 h 571500"/>
              <a:gd name="connsiteX1" fmla="*/ 288938 w 1839330"/>
              <a:gd name="connsiteY1" fmla="*/ 1 h 571500"/>
              <a:gd name="connsiteX2" fmla="*/ 1839330 w 1839330"/>
              <a:gd name="connsiteY2" fmla="*/ 0 h 571500"/>
              <a:gd name="connsiteX3" fmla="*/ 1829805 w 1839330"/>
              <a:gd name="connsiteY3" fmla="*/ 219075 h 571500"/>
              <a:gd name="connsiteX4" fmla="*/ 1303677 w 1839330"/>
              <a:gd name="connsiteY4" fmla="*/ 304800 h 571500"/>
              <a:gd name="connsiteX5" fmla="*/ 1176826 w 1839330"/>
              <a:gd name="connsiteY5" fmla="*/ 571500 h 571500"/>
              <a:gd name="connsiteX6" fmla="*/ 126850 w 1839330"/>
              <a:gd name="connsiteY6" fmla="*/ 571500 h 571500"/>
              <a:gd name="connsiteX7" fmla="*/ 7046 w 1839330"/>
              <a:gd name="connsiteY7" fmla="*/ 500063 h 571500"/>
              <a:gd name="connsiteX8" fmla="*/ 0 w 1839330"/>
              <a:gd name="connsiteY8" fmla="*/ 133350 h 571500"/>
              <a:gd name="connsiteX0" fmla="*/ 0 w 1839330"/>
              <a:gd name="connsiteY0" fmla="*/ 185738 h 571500"/>
              <a:gd name="connsiteX1" fmla="*/ 288938 w 1839330"/>
              <a:gd name="connsiteY1" fmla="*/ 1 h 571500"/>
              <a:gd name="connsiteX2" fmla="*/ 1839330 w 1839330"/>
              <a:gd name="connsiteY2" fmla="*/ 0 h 571500"/>
              <a:gd name="connsiteX3" fmla="*/ 1829805 w 1839330"/>
              <a:gd name="connsiteY3" fmla="*/ 219075 h 571500"/>
              <a:gd name="connsiteX4" fmla="*/ 1303677 w 1839330"/>
              <a:gd name="connsiteY4" fmla="*/ 304800 h 571500"/>
              <a:gd name="connsiteX5" fmla="*/ 1176826 w 1839330"/>
              <a:gd name="connsiteY5" fmla="*/ 571500 h 571500"/>
              <a:gd name="connsiteX6" fmla="*/ 126850 w 1839330"/>
              <a:gd name="connsiteY6" fmla="*/ 571500 h 571500"/>
              <a:gd name="connsiteX7" fmla="*/ 7046 w 1839330"/>
              <a:gd name="connsiteY7" fmla="*/ 500063 h 571500"/>
              <a:gd name="connsiteX8" fmla="*/ 0 w 1839330"/>
              <a:gd name="connsiteY8" fmla="*/ 185738 h 571500"/>
              <a:gd name="connsiteX0" fmla="*/ 0 w 1839330"/>
              <a:gd name="connsiteY0" fmla="*/ 123825 h 571500"/>
              <a:gd name="connsiteX1" fmla="*/ 288938 w 1839330"/>
              <a:gd name="connsiteY1" fmla="*/ 1 h 571500"/>
              <a:gd name="connsiteX2" fmla="*/ 1839330 w 1839330"/>
              <a:gd name="connsiteY2" fmla="*/ 0 h 571500"/>
              <a:gd name="connsiteX3" fmla="*/ 1829805 w 1839330"/>
              <a:gd name="connsiteY3" fmla="*/ 219075 h 571500"/>
              <a:gd name="connsiteX4" fmla="*/ 1303677 w 1839330"/>
              <a:gd name="connsiteY4" fmla="*/ 304800 h 571500"/>
              <a:gd name="connsiteX5" fmla="*/ 1176826 w 1839330"/>
              <a:gd name="connsiteY5" fmla="*/ 571500 h 571500"/>
              <a:gd name="connsiteX6" fmla="*/ 126850 w 1839330"/>
              <a:gd name="connsiteY6" fmla="*/ 571500 h 571500"/>
              <a:gd name="connsiteX7" fmla="*/ 7046 w 1839330"/>
              <a:gd name="connsiteY7" fmla="*/ 500063 h 571500"/>
              <a:gd name="connsiteX8" fmla="*/ 0 w 1839330"/>
              <a:gd name="connsiteY8" fmla="*/ 123825 h 571500"/>
              <a:gd name="connsiteX0" fmla="*/ 0 w 1839330"/>
              <a:gd name="connsiteY0" fmla="*/ 123825 h 571500"/>
              <a:gd name="connsiteX1" fmla="*/ 288938 w 1839330"/>
              <a:gd name="connsiteY1" fmla="*/ 1 h 571500"/>
              <a:gd name="connsiteX2" fmla="*/ 1839330 w 1839330"/>
              <a:gd name="connsiteY2" fmla="*/ 0 h 571500"/>
              <a:gd name="connsiteX3" fmla="*/ 1829805 w 1839330"/>
              <a:gd name="connsiteY3" fmla="*/ 219075 h 571500"/>
              <a:gd name="connsiteX4" fmla="*/ 1303677 w 1839330"/>
              <a:gd name="connsiteY4" fmla="*/ 304800 h 571500"/>
              <a:gd name="connsiteX5" fmla="*/ 1176826 w 1839330"/>
              <a:gd name="connsiteY5" fmla="*/ 571500 h 571500"/>
              <a:gd name="connsiteX6" fmla="*/ 126850 w 1839330"/>
              <a:gd name="connsiteY6" fmla="*/ 571500 h 571500"/>
              <a:gd name="connsiteX7" fmla="*/ 7046 w 1839330"/>
              <a:gd name="connsiteY7" fmla="*/ 500063 h 571500"/>
              <a:gd name="connsiteX8" fmla="*/ 0 w 1839330"/>
              <a:gd name="connsiteY8" fmla="*/ 123825 h 571500"/>
              <a:gd name="connsiteX0" fmla="*/ 0 w 1839330"/>
              <a:gd name="connsiteY0" fmla="*/ 123825 h 571500"/>
              <a:gd name="connsiteX1" fmla="*/ 288938 w 1839330"/>
              <a:gd name="connsiteY1" fmla="*/ 1 h 571500"/>
              <a:gd name="connsiteX2" fmla="*/ 1839330 w 1839330"/>
              <a:gd name="connsiteY2" fmla="*/ 0 h 571500"/>
              <a:gd name="connsiteX3" fmla="*/ 1829805 w 1839330"/>
              <a:gd name="connsiteY3" fmla="*/ 219075 h 571500"/>
              <a:gd name="connsiteX4" fmla="*/ 1303677 w 1839330"/>
              <a:gd name="connsiteY4" fmla="*/ 304800 h 571500"/>
              <a:gd name="connsiteX5" fmla="*/ 1176826 w 1839330"/>
              <a:gd name="connsiteY5" fmla="*/ 571500 h 571500"/>
              <a:gd name="connsiteX6" fmla="*/ 126850 w 1839330"/>
              <a:gd name="connsiteY6" fmla="*/ 571500 h 571500"/>
              <a:gd name="connsiteX7" fmla="*/ 7047 w 1839330"/>
              <a:gd name="connsiteY7" fmla="*/ 428625 h 571500"/>
              <a:gd name="connsiteX8" fmla="*/ 0 w 1839330"/>
              <a:gd name="connsiteY8" fmla="*/ 123825 h 571500"/>
              <a:gd name="connsiteX0" fmla="*/ 0 w 1839330"/>
              <a:gd name="connsiteY0" fmla="*/ 123825 h 576262"/>
              <a:gd name="connsiteX1" fmla="*/ 288938 w 1839330"/>
              <a:gd name="connsiteY1" fmla="*/ 1 h 576262"/>
              <a:gd name="connsiteX2" fmla="*/ 1839330 w 1839330"/>
              <a:gd name="connsiteY2" fmla="*/ 0 h 576262"/>
              <a:gd name="connsiteX3" fmla="*/ 1829805 w 1839330"/>
              <a:gd name="connsiteY3" fmla="*/ 219075 h 576262"/>
              <a:gd name="connsiteX4" fmla="*/ 1303677 w 1839330"/>
              <a:gd name="connsiteY4" fmla="*/ 304800 h 576262"/>
              <a:gd name="connsiteX5" fmla="*/ 1176826 w 1839330"/>
              <a:gd name="connsiteY5" fmla="*/ 571500 h 576262"/>
              <a:gd name="connsiteX6" fmla="*/ 253701 w 1839330"/>
              <a:gd name="connsiteY6" fmla="*/ 576262 h 576262"/>
              <a:gd name="connsiteX7" fmla="*/ 7047 w 1839330"/>
              <a:gd name="connsiteY7" fmla="*/ 428625 h 576262"/>
              <a:gd name="connsiteX8" fmla="*/ 0 w 1839330"/>
              <a:gd name="connsiteY8" fmla="*/ 123825 h 576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9330" h="576262">
                <a:moveTo>
                  <a:pt x="0" y="123825"/>
                </a:moveTo>
                <a:cubicBezTo>
                  <a:pt x="34062" y="41275"/>
                  <a:pt x="-16443" y="13495"/>
                  <a:pt x="288938" y="1"/>
                </a:cubicBezTo>
                <a:lnTo>
                  <a:pt x="1839330" y="0"/>
                </a:lnTo>
                <a:lnTo>
                  <a:pt x="1829805" y="219075"/>
                </a:lnTo>
                <a:lnTo>
                  <a:pt x="1303677" y="304800"/>
                </a:lnTo>
                <a:lnTo>
                  <a:pt x="1176826" y="571500"/>
                </a:lnTo>
                <a:lnTo>
                  <a:pt x="253701" y="576262"/>
                </a:lnTo>
                <a:cubicBezTo>
                  <a:pt x="58738" y="564356"/>
                  <a:pt x="28189" y="503237"/>
                  <a:pt x="7047" y="428625"/>
                </a:cubicBezTo>
                <a:lnTo>
                  <a:pt x="0" y="123825"/>
                </a:lnTo>
                <a:close/>
              </a:path>
            </a:pathLst>
          </a:cu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cxnSp>
        <p:nvCxnSpPr>
          <p:cNvPr id="12" name="Straight Connector 11"/>
          <p:cNvCxnSpPr/>
          <p:nvPr>
            <p:custDataLst>
              <p:tags r:id="rId7"/>
            </p:custDataLst>
          </p:nvPr>
        </p:nvCxnSpPr>
        <p:spPr bwMode="auto">
          <a:xfrm>
            <a:off x="3777497" y="4529111"/>
            <a:ext cx="3996444" cy="0"/>
          </a:xfrm>
          <a:prstGeom prst="lin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Oval 12"/>
          <p:cNvSpPr/>
          <p:nvPr>
            <p:custDataLst>
              <p:tags r:id="rId8"/>
            </p:custDataLst>
          </p:nvPr>
        </p:nvSpPr>
        <p:spPr bwMode="auto">
          <a:xfrm>
            <a:off x="4876697" y="4527202"/>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14" name="Oval 13"/>
          <p:cNvSpPr/>
          <p:nvPr>
            <p:custDataLst>
              <p:tags r:id="rId9"/>
            </p:custDataLst>
          </p:nvPr>
        </p:nvSpPr>
        <p:spPr bwMode="auto">
          <a:xfrm>
            <a:off x="5036935" y="4669501"/>
            <a:ext cx="45719" cy="4571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15" name="Circular Arrow 116"/>
          <p:cNvSpPr/>
          <p:nvPr>
            <p:custDataLst>
              <p:tags r:id="rId10"/>
            </p:custDataLst>
          </p:nvPr>
        </p:nvSpPr>
        <p:spPr bwMode="auto">
          <a:xfrm>
            <a:off x="4970418" y="4624813"/>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16" name="Oval 15"/>
          <p:cNvSpPr/>
          <p:nvPr>
            <p:custDataLst>
              <p:tags r:id="rId11"/>
            </p:custDataLst>
          </p:nvPr>
        </p:nvSpPr>
        <p:spPr bwMode="auto">
          <a:xfrm>
            <a:off x="5314877" y="4527186"/>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17" name="Circular Arrow 116"/>
          <p:cNvSpPr/>
          <p:nvPr>
            <p:custDataLst>
              <p:tags r:id="rId12"/>
            </p:custDataLst>
          </p:nvPr>
        </p:nvSpPr>
        <p:spPr bwMode="auto">
          <a:xfrm>
            <a:off x="5408598" y="4624797"/>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18" name="Oval 17"/>
          <p:cNvSpPr/>
          <p:nvPr>
            <p:custDataLst>
              <p:tags r:id="rId13"/>
            </p:custDataLst>
          </p:nvPr>
        </p:nvSpPr>
        <p:spPr bwMode="auto">
          <a:xfrm>
            <a:off x="5734005" y="4531933"/>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19" name="Circular Arrow 116"/>
          <p:cNvSpPr/>
          <p:nvPr>
            <p:custDataLst>
              <p:tags r:id="rId14"/>
            </p:custDataLst>
          </p:nvPr>
        </p:nvSpPr>
        <p:spPr bwMode="auto">
          <a:xfrm>
            <a:off x="5827726" y="4629544"/>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20" name="Oval 19"/>
          <p:cNvSpPr/>
          <p:nvPr>
            <p:custDataLst>
              <p:tags r:id="rId15"/>
            </p:custDataLst>
          </p:nvPr>
        </p:nvSpPr>
        <p:spPr bwMode="auto">
          <a:xfrm>
            <a:off x="6196000" y="4531917"/>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21" name="Circular Arrow 116"/>
          <p:cNvSpPr/>
          <p:nvPr>
            <p:custDataLst>
              <p:tags r:id="rId16"/>
            </p:custDataLst>
          </p:nvPr>
        </p:nvSpPr>
        <p:spPr bwMode="auto">
          <a:xfrm>
            <a:off x="6289721" y="4629528"/>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22" name="Oval 21"/>
          <p:cNvSpPr/>
          <p:nvPr>
            <p:custDataLst>
              <p:tags r:id="rId17"/>
            </p:custDataLst>
          </p:nvPr>
        </p:nvSpPr>
        <p:spPr bwMode="auto">
          <a:xfrm>
            <a:off x="6691352" y="4550969"/>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23" name="Circular Arrow 116"/>
          <p:cNvSpPr/>
          <p:nvPr>
            <p:custDataLst>
              <p:tags r:id="rId18"/>
            </p:custDataLst>
          </p:nvPr>
        </p:nvSpPr>
        <p:spPr bwMode="auto">
          <a:xfrm>
            <a:off x="6785073" y="4648580"/>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24" name="Oval 23"/>
          <p:cNvSpPr/>
          <p:nvPr>
            <p:custDataLst>
              <p:tags r:id="rId19"/>
            </p:custDataLst>
          </p:nvPr>
        </p:nvSpPr>
        <p:spPr bwMode="auto">
          <a:xfrm>
            <a:off x="7172415" y="4565258"/>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25" name="Circular Arrow 116"/>
          <p:cNvSpPr/>
          <p:nvPr>
            <p:custDataLst>
              <p:tags r:id="rId20"/>
            </p:custDataLst>
          </p:nvPr>
        </p:nvSpPr>
        <p:spPr bwMode="auto">
          <a:xfrm>
            <a:off x="7266136" y="4662869"/>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26" name="Oval 25"/>
          <p:cNvSpPr/>
          <p:nvPr>
            <p:custDataLst>
              <p:tags r:id="rId21"/>
            </p:custDataLst>
          </p:nvPr>
        </p:nvSpPr>
        <p:spPr bwMode="auto">
          <a:xfrm>
            <a:off x="7629663" y="4536680"/>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27" name="Circular Arrow 116"/>
          <p:cNvSpPr/>
          <p:nvPr>
            <p:custDataLst>
              <p:tags r:id="rId22"/>
            </p:custDataLst>
          </p:nvPr>
        </p:nvSpPr>
        <p:spPr bwMode="auto">
          <a:xfrm>
            <a:off x="7723384" y="4634291"/>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28" name="Oval 27"/>
          <p:cNvSpPr/>
          <p:nvPr>
            <p:custDataLst>
              <p:tags r:id="rId23"/>
            </p:custDataLst>
          </p:nvPr>
        </p:nvSpPr>
        <p:spPr bwMode="auto">
          <a:xfrm>
            <a:off x="8072654" y="4531949"/>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29" name="Oval 28"/>
          <p:cNvSpPr/>
          <p:nvPr>
            <p:custDataLst>
              <p:tags r:id="rId24"/>
            </p:custDataLst>
          </p:nvPr>
        </p:nvSpPr>
        <p:spPr bwMode="auto">
          <a:xfrm>
            <a:off x="8232892" y="4674248"/>
            <a:ext cx="45719" cy="4571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30" name="Circular Arrow 116"/>
          <p:cNvSpPr/>
          <p:nvPr>
            <p:custDataLst>
              <p:tags r:id="rId25"/>
            </p:custDataLst>
          </p:nvPr>
        </p:nvSpPr>
        <p:spPr bwMode="auto">
          <a:xfrm>
            <a:off x="8166375" y="4629560"/>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31" name="Oval 30"/>
          <p:cNvSpPr/>
          <p:nvPr>
            <p:custDataLst>
              <p:tags r:id="rId26"/>
            </p:custDataLst>
          </p:nvPr>
        </p:nvSpPr>
        <p:spPr bwMode="auto">
          <a:xfrm>
            <a:off x="8510834" y="4531933"/>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32" name="Circular Arrow 116"/>
          <p:cNvSpPr/>
          <p:nvPr>
            <p:custDataLst>
              <p:tags r:id="rId27"/>
            </p:custDataLst>
          </p:nvPr>
        </p:nvSpPr>
        <p:spPr bwMode="auto">
          <a:xfrm>
            <a:off x="8604555" y="4629544"/>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33" name="Freeform 32"/>
          <p:cNvSpPr/>
          <p:nvPr>
            <p:custDataLst>
              <p:tags r:id="rId28"/>
            </p:custDataLst>
          </p:nvPr>
        </p:nvSpPr>
        <p:spPr bwMode="auto">
          <a:xfrm>
            <a:off x="6584078" y="4489299"/>
            <a:ext cx="1271588" cy="43006"/>
          </a:xfrm>
          <a:custGeom>
            <a:avLst/>
            <a:gdLst>
              <a:gd name="connsiteX0" fmla="*/ 0 w 1252538"/>
              <a:gd name="connsiteY0" fmla="*/ 0 h 76200"/>
              <a:gd name="connsiteX1" fmla="*/ 223838 w 1252538"/>
              <a:gd name="connsiteY1" fmla="*/ 38100 h 76200"/>
              <a:gd name="connsiteX2" fmla="*/ 504825 w 1252538"/>
              <a:gd name="connsiteY2" fmla="*/ 71437 h 76200"/>
              <a:gd name="connsiteX3" fmla="*/ 942975 w 1252538"/>
              <a:gd name="connsiteY3" fmla="*/ 76200 h 76200"/>
              <a:gd name="connsiteX4" fmla="*/ 1252538 w 1252538"/>
              <a:gd name="connsiteY4" fmla="*/ 23812 h 76200"/>
              <a:gd name="connsiteX0" fmla="*/ 0 w 1252538"/>
              <a:gd name="connsiteY0" fmla="*/ 0 h 76200"/>
              <a:gd name="connsiteX1" fmla="*/ 223838 w 1252538"/>
              <a:gd name="connsiteY1" fmla="*/ 38100 h 76200"/>
              <a:gd name="connsiteX2" fmla="*/ 504825 w 1252538"/>
              <a:gd name="connsiteY2" fmla="*/ 71437 h 76200"/>
              <a:gd name="connsiteX3" fmla="*/ 757238 w 1252538"/>
              <a:gd name="connsiteY3" fmla="*/ 71437 h 76200"/>
              <a:gd name="connsiteX4" fmla="*/ 942975 w 1252538"/>
              <a:gd name="connsiteY4" fmla="*/ 76200 h 76200"/>
              <a:gd name="connsiteX5" fmla="*/ 1252538 w 1252538"/>
              <a:gd name="connsiteY5" fmla="*/ 23812 h 76200"/>
              <a:gd name="connsiteX0" fmla="*/ 0 w 1252538"/>
              <a:gd name="connsiteY0" fmla="*/ 0 h 76200"/>
              <a:gd name="connsiteX1" fmla="*/ 223838 w 1252538"/>
              <a:gd name="connsiteY1" fmla="*/ 38100 h 76200"/>
              <a:gd name="connsiteX2" fmla="*/ 504825 w 1252538"/>
              <a:gd name="connsiteY2" fmla="*/ 71437 h 76200"/>
              <a:gd name="connsiteX3" fmla="*/ 757238 w 1252538"/>
              <a:gd name="connsiteY3" fmla="*/ 71437 h 76200"/>
              <a:gd name="connsiteX4" fmla="*/ 942975 w 1252538"/>
              <a:gd name="connsiteY4" fmla="*/ 76200 h 76200"/>
              <a:gd name="connsiteX5" fmla="*/ 1252538 w 1252538"/>
              <a:gd name="connsiteY5" fmla="*/ 23812 h 76200"/>
              <a:gd name="connsiteX0" fmla="*/ 0 w 1252538"/>
              <a:gd name="connsiteY0" fmla="*/ 0 h 78916"/>
              <a:gd name="connsiteX1" fmla="*/ 223838 w 1252538"/>
              <a:gd name="connsiteY1" fmla="*/ 38100 h 78916"/>
              <a:gd name="connsiteX2" fmla="*/ 504825 w 1252538"/>
              <a:gd name="connsiteY2" fmla="*/ 71437 h 78916"/>
              <a:gd name="connsiteX3" fmla="*/ 757238 w 1252538"/>
              <a:gd name="connsiteY3" fmla="*/ 71437 h 78916"/>
              <a:gd name="connsiteX4" fmla="*/ 942975 w 1252538"/>
              <a:gd name="connsiteY4" fmla="*/ 76200 h 78916"/>
              <a:gd name="connsiteX5" fmla="*/ 1252538 w 1252538"/>
              <a:gd name="connsiteY5" fmla="*/ 23812 h 78916"/>
              <a:gd name="connsiteX0" fmla="*/ 0 w 1252538"/>
              <a:gd name="connsiteY0" fmla="*/ 0 h 78916"/>
              <a:gd name="connsiteX1" fmla="*/ 223838 w 1252538"/>
              <a:gd name="connsiteY1" fmla="*/ 38100 h 78916"/>
              <a:gd name="connsiteX2" fmla="*/ 414337 w 1252538"/>
              <a:gd name="connsiteY2" fmla="*/ 52387 h 78916"/>
              <a:gd name="connsiteX3" fmla="*/ 757238 w 1252538"/>
              <a:gd name="connsiteY3" fmla="*/ 71437 h 78916"/>
              <a:gd name="connsiteX4" fmla="*/ 942975 w 1252538"/>
              <a:gd name="connsiteY4" fmla="*/ 76200 h 78916"/>
              <a:gd name="connsiteX5" fmla="*/ 1252538 w 1252538"/>
              <a:gd name="connsiteY5" fmla="*/ 23812 h 78916"/>
              <a:gd name="connsiteX0" fmla="*/ 0 w 1252538"/>
              <a:gd name="connsiteY0" fmla="*/ 0 h 78916"/>
              <a:gd name="connsiteX1" fmla="*/ 204788 w 1252538"/>
              <a:gd name="connsiteY1" fmla="*/ 38100 h 78916"/>
              <a:gd name="connsiteX2" fmla="*/ 414337 w 1252538"/>
              <a:gd name="connsiteY2" fmla="*/ 52387 h 78916"/>
              <a:gd name="connsiteX3" fmla="*/ 757238 w 1252538"/>
              <a:gd name="connsiteY3" fmla="*/ 71437 h 78916"/>
              <a:gd name="connsiteX4" fmla="*/ 942975 w 1252538"/>
              <a:gd name="connsiteY4" fmla="*/ 76200 h 78916"/>
              <a:gd name="connsiteX5" fmla="*/ 1252538 w 1252538"/>
              <a:gd name="connsiteY5" fmla="*/ 23812 h 78916"/>
              <a:gd name="connsiteX0" fmla="*/ 0 w 1252538"/>
              <a:gd name="connsiteY0" fmla="*/ 0 h 77696"/>
              <a:gd name="connsiteX1" fmla="*/ 204788 w 1252538"/>
              <a:gd name="connsiteY1" fmla="*/ 38100 h 77696"/>
              <a:gd name="connsiteX2" fmla="*/ 414337 w 1252538"/>
              <a:gd name="connsiteY2" fmla="*/ 52387 h 77696"/>
              <a:gd name="connsiteX3" fmla="*/ 757238 w 1252538"/>
              <a:gd name="connsiteY3" fmla="*/ 57149 h 77696"/>
              <a:gd name="connsiteX4" fmla="*/ 942975 w 1252538"/>
              <a:gd name="connsiteY4" fmla="*/ 76200 h 77696"/>
              <a:gd name="connsiteX5" fmla="*/ 1252538 w 1252538"/>
              <a:gd name="connsiteY5" fmla="*/ 23812 h 77696"/>
              <a:gd name="connsiteX0" fmla="*/ 0 w 1252538"/>
              <a:gd name="connsiteY0" fmla="*/ 0 h 57293"/>
              <a:gd name="connsiteX1" fmla="*/ 204788 w 1252538"/>
              <a:gd name="connsiteY1" fmla="*/ 38100 h 57293"/>
              <a:gd name="connsiteX2" fmla="*/ 414337 w 1252538"/>
              <a:gd name="connsiteY2" fmla="*/ 52387 h 57293"/>
              <a:gd name="connsiteX3" fmla="*/ 757238 w 1252538"/>
              <a:gd name="connsiteY3" fmla="*/ 57149 h 57293"/>
              <a:gd name="connsiteX4" fmla="*/ 1042987 w 1252538"/>
              <a:gd name="connsiteY4" fmla="*/ 47625 h 57293"/>
              <a:gd name="connsiteX5" fmla="*/ 1252538 w 1252538"/>
              <a:gd name="connsiteY5" fmla="*/ 23812 h 57293"/>
              <a:gd name="connsiteX0" fmla="*/ 0 w 1271588"/>
              <a:gd name="connsiteY0" fmla="*/ 0 h 43006"/>
              <a:gd name="connsiteX1" fmla="*/ 223838 w 1271588"/>
              <a:gd name="connsiteY1" fmla="*/ 23813 h 43006"/>
              <a:gd name="connsiteX2" fmla="*/ 433387 w 1271588"/>
              <a:gd name="connsiteY2" fmla="*/ 38100 h 43006"/>
              <a:gd name="connsiteX3" fmla="*/ 776288 w 1271588"/>
              <a:gd name="connsiteY3" fmla="*/ 42862 h 43006"/>
              <a:gd name="connsiteX4" fmla="*/ 1062037 w 1271588"/>
              <a:gd name="connsiteY4" fmla="*/ 33338 h 43006"/>
              <a:gd name="connsiteX5" fmla="*/ 1271588 w 1271588"/>
              <a:gd name="connsiteY5" fmla="*/ 9525 h 4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1588" h="43006">
                <a:moveTo>
                  <a:pt x="0" y="0"/>
                </a:moveTo>
                <a:lnTo>
                  <a:pt x="223838" y="23813"/>
                </a:lnTo>
                <a:cubicBezTo>
                  <a:pt x="307976" y="35719"/>
                  <a:pt x="344487" y="32544"/>
                  <a:pt x="433387" y="38100"/>
                </a:cubicBezTo>
                <a:lnTo>
                  <a:pt x="776288" y="42862"/>
                </a:lnTo>
                <a:cubicBezTo>
                  <a:pt x="849313" y="43656"/>
                  <a:pt x="979487" y="41276"/>
                  <a:pt x="1062037" y="33338"/>
                </a:cubicBezTo>
                <a:lnTo>
                  <a:pt x="1271588" y="9525"/>
                </a:lnTo>
              </a:path>
            </a:pathLst>
          </a:custGeom>
          <a:noFill/>
          <a:ln w="50800" cap="flat" cmpd="sng" algn="ctr">
            <a:solidFill>
              <a:schemeClr val="tx2">
                <a:lumMod val="75000"/>
              </a:schemeClr>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34" name="Oval 33"/>
          <p:cNvSpPr/>
          <p:nvPr>
            <p:custDataLst>
              <p:tags r:id="rId29"/>
            </p:custDataLst>
          </p:nvPr>
        </p:nvSpPr>
        <p:spPr bwMode="auto">
          <a:xfrm>
            <a:off x="6853262" y="4155608"/>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35" name="Circular Arrow 116"/>
          <p:cNvSpPr/>
          <p:nvPr>
            <p:custDataLst>
              <p:tags r:id="rId30"/>
            </p:custDataLst>
          </p:nvPr>
        </p:nvSpPr>
        <p:spPr bwMode="auto">
          <a:xfrm>
            <a:off x="6946983" y="4253219"/>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36" name="Oval 35"/>
          <p:cNvSpPr/>
          <p:nvPr>
            <p:custDataLst>
              <p:tags r:id="rId31"/>
            </p:custDataLst>
          </p:nvPr>
        </p:nvSpPr>
        <p:spPr bwMode="auto">
          <a:xfrm>
            <a:off x="7405770" y="4155608"/>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37" name="Circular Arrow 116"/>
          <p:cNvSpPr/>
          <p:nvPr>
            <p:custDataLst>
              <p:tags r:id="rId32"/>
            </p:custDataLst>
          </p:nvPr>
        </p:nvSpPr>
        <p:spPr bwMode="auto">
          <a:xfrm>
            <a:off x="7499491" y="4253219"/>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38" name="Oval 37"/>
          <p:cNvSpPr/>
          <p:nvPr>
            <p:custDataLst>
              <p:tags r:id="rId33"/>
            </p:custDataLst>
          </p:nvPr>
        </p:nvSpPr>
        <p:spPr bwMode="auto">
          <a:xfrm>
            <a:off x="4443248" y="4527186"/>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39" name="Oval 38"/>
          <p:cNvSpPr/>
          <p:nvPr>
            <p:custDataLst>
              <p:tags r:id="rId34"/>
            </p:custDataLst>
          </p:nvPr>
        </p:nvSpPr>
        <p:spPr bwMode="auto">
          <a:xfrm>
            <a:off x="4603486" y="4669485"/>
            <a:ext cx="45719" cy="4571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40" name="Circular Arrow 116"/>
          <p:cNvSpPr/>
          <p:nvPr>
            <p:custDataLst>
              <p:tags r:id="rId35"/>
            </p:custDataLst>
          </p:nvPr>
        </p:nvSpPr>
        <p:spPr bwMode="auto">
          <a:xfrm>
            <a:off x="4536969" y="4624797"/>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41" name="Oval 40"/>
          <p:cNvSpPr/>
          <p:nvPr>
            <p:custDataLst>
              <p:tags r:id="rId36"/>
            </p:custDataLst>
          </p:nvPr>
        </p:nvSpPr>
        <p:spPr bwMode="auto">
          <a:xfrm>
            <a:off x="4000289" y="4527186"/>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42" name="Oval 41"/>
          <p:cNvSpPr/>
          <p:nvPr>
            <p:custDataLst>
              <p:tags r:id="rId37"/>
            </p:custDataLst>
          </p:nvPr>
        </p:nvSpPr>
        <p:spPr bwMode="auto">
          <a:xfrm>
            <a:off x="4160527" y="4669485"/>
            <a:ext cx="45719" cy="4571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43" name="Circular Arrow 116"/>
          <p:cNvSpPr/>
          <p:nvPr>
            <p:custDataLst>
              <p:tags r:id="rId38"/>
            </p:custDataLst>
          </p:nvPr>
        </p:nvSpPr>
        <p:spPr bwMode="auto">
          <a:xfrm>
            <a:off x="4094010" y="4624797"/>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44" name="Oval 43"/>
          <p:cNvSpPr/>
          <p:nvPr>
            <p:custDataLst>
              <p:tags r:id="rId39"/>
            </p:custDataLst>
          </p:nvPr>
        </p:nvSpPr>
        <p:spPr bwMode="auto">
          <a:xfrm>
            <a:off x="3547804" y="4531949"/>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45" name="Oval 44"/>
          <p:cNvSpPr/>
          <p:nvPr>
            <p:custDataLst>
              <p:tags r:id="rId40"/>
            </p:custDataLst>
          </p:nvPr>
        </p:nvSpPr>
        <p:spPr bwMode="auto">
          <a:xfrm>
            <a:off x="3599182" y="4674248"/>
            <a:ext cx="45719" cy="4571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46" name="Circular Arrow 116"/>
          <p:cNvSpPr/>
          <p:nvPr>
            <p:custDataLst>
              <p:tags r:id="rId41"/>
            </p:custDataLst>
          </p:nvPr>
        </p:nvSpPr>
        <p:spPr bwMode="auto">
          <a:xfrm>
            <a:off x="3641525" y="4629560"/>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47" name="Rectangle 46"/>
          <p:cNvSpPr/>
          <p:nvPr>
            <p:custDataLst>
              <p:tags r:id="rId42"/>
            </p:custDataLst>
          </p:nvPr>
        </p:nvSpPr>
        <p:spPr bwMode="auto">
          <a:xfrm>
            <a:off x="8914364" y="4565258"/>
            <a:ext cx="3016379" cy="678650"/>
          </a:xfrm>
          <a:prstGeom prst="rect">
            <a:avLst/>
          </a:prstGeom>
          <a:solidFill>
            <a:schemeClr val="bg1">
              <a:lumMod val="75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49" name="Freeform 48"/>
          <p:cNvSpPr/>
          <p:nvPr>
            <p:custDataLst>
              <p:tags r:id="rId43"/>
            </p:custDataLst>
          </p:nvPr>
        </p:nvSpPr>
        <p:spPr bwMode="auto">
          <a:xfrm>
            <a:off x="8914364" y="3460557"/>
            <a:ext cx="1655918" cy="819150"/>
          </a:xfrm>
          <a:custGeom>
            <a:avLst/>
            <a:gdLst>
              <a:gd name="connsiteX0" fmla="*/ 0 w 1057275"/>
              <a:gd name="connsiteY0" fmla="*/ 814388 h 819150"/>
              <a:gd name="connsiteX1" fmla="*/ 1057275 w 1057275"/>
              <a:gd name="connsiteY1" fmla="*/ 819150 h 819150"/>
              <a:gd name="connsiteX2" fmla="*/ 762000 w 1057275"/>
              <a:gd name="connsiteY2" fmla="*/ 352425 h 819150"/>
              <a:gd name="connsiteX3" fmla="*/ 747712 w 1057275"/>
              <a:gd name="connsiteY3" fmla="*/ 0 h 819150"/>
              <a:gd name="connsiteX4" fmla="*/ 271462 w 1057275"/>
              <a:gd name="connsiteY4" fmla="*/ 0 h 819150"/>
              <a:gd name="connsiteX5" fmla="*/ 271462 w 1057275"/>
              <a:gd name="connsiteY5" fmla="*/ 347663 h 819150"/>
              <a:gd name="connsiteX6" fmla="*/ 0 w 1057275"/>
              <a:gd name="connsiteY6" fmla="*/ 814388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7275" h="819150">
                <a:moveTo>
                  <a:pt x="0" y="814388"/>
                </a:moveTo>
                <a:lnTo>
                  <a:pt x="1057275" y="819150"/>
                </a:lnTo>
                <a:lnTo>
                  <a:pt x="762000" y="352425"/>
                </a:lnTo>
                <a:lnTo>
                  <a:pt x="747712" y="0"/>
                </a:lnTo>
                <a:lnTo>
                  <a:pt x="271462" y="0"/>
                </a:lnTo>
                <a:lnTo>
                  <a:pt x="271462" y="347663"/>
                </a:lnTo>
                <a:lnTo>
                  <a:pt x="0" y="814388"/>
                </a:lnTo>
                <a:close/>
              </a:path>
            </a:pathLst>
          </a:cu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50" name="AutoShape 4"/>
          <p:cNvSpPr>
            <a:spLocks noChangeArrowheads="1"/>
          </p:cNvSpPr>
          <p:nvPr/>
        </p:nvSpPr>
        <p:spPr bwMode="auto">
          <a:xfrm>
            <a:off x="1906097" y="2150337"/>
            <a:ext cx="1811161" cy="301625"/>
          </a:xfrm>
          <a:prstGeom prst="homePlate">
            <a:avLst>
              <a:gd name="adj" fmla="val 26032"/>
            </a:avLst>
          </a:prstGeom>
          <a:solidFill>
            <a:schemeClr val="accent6">
              <a:lumMod val="75000"/>
            </a:schemeClr>
          </a:solidFill>
          <a:ln>
            <a:noFill/>
          </a:ln>
          <a:effectLst/>
          <a:extLst/>
        </p:spPr>
        <p:txBody>
          <a:bodyPr anchor="ctr"/>
          <a:lstStyle/>
          <a:p>
            <a:pPr algn="ctr" eaLnBrk="0" hangingPunct="0">
              <a:buFont typeface="Webdings" pitchFamily="18" charset="2"/>
              <a:buNone/>
            </a:pPr>
            <a:r>
              <a:rPr lang="de-DE" altLang="en-US" sz="1400" b="1" dirty="0">
                <a:solidFill>
                  <a:schemeClr val="bg1"/>
                </a:solidFill>
              </a:rPr>
              <a:t> </a:t>
            </a:r>
            <a:r>
              <a:rPr lang="de-DE" altLang="en-US" sz="1400" dirty="0" err="1" smtClean="0">
                <a:solidFill>
                  <a:schemeClr val="bg1"/>
                </a:solidFill>
              </a:rPr>
              <a:t>washing</a:t>
            </a:r>
            <a:r>
              <a:rPr lang="de-DE" altLang="en-US" sz="1400" dirty="0" smtClean="0">
                <a:solidFill>
                  <a:schemeClr val="bg1"/>
                </a:solidFill>
              </a:rPr>
              <a:t> &amp; </a:t>
            </a:r>
            <a:r>
              <a:rPr lang="de-DE" altLang="en-US" sz="1400" dirty="0" err="1" smtClean="0">
                <a:solidFill>
                  <a:schemeClr val="bg1"/>
                </a:solidFill>
              </a:rPr>
              <a:t>Drying</a:t>
            </a:r>
            <a:endParaRPr lang="de-DE" altLang="en-US" sz="1400" b="1" dirty="0">
              <a:solidFill>
                <a:schemeClr val="bg1"/>
              </a:solidFill>
            </a:endParaRPr>
          </a:p>
        </p:txBody>
      </p:sp>
      <p:sp>
        <p:nvSpPr>
          <p:cNvPr id="51" name="AutoShape 4"/>
          <p:cNvSpPr>
            <a:spLocks noChangeArrowheads="1"/>
          </p:cNvSpPr>
          <p:nvPr/>
        </p:nvSpPr>
        <p:spPr bwMode="auto">
          <a:xfrm>
            <a:off x="3922892" y="2150336"/>
            <a:ext cx="1811161" cy="301625"/>
          </a:xfrm>
          <a:prstGeom prst="homePlate">
            <a:avLst>
              <a:gd name="adj" fmla="val 26032"/>
            </a:avLst>
          </a:prstGeom>
          <a:solidFill>
            <a:schemeClr val="accent6">
              <a:lumMod val="75000"/>
            </a:schemeClr>
          </a:solidFill>
          <a:ln>
            <a:noFill/>
          </a:ln>
          <a:effectLst/>
          <a:extLst/>
        </p:spPr>
        <p:txBody>
          <a:bodyPr anchor="ctr"/>
          <a:lstStyle/>
          <a:p>
            <a:pPr algn="ctr" eaLnBrk="0" hangingPunct="0">
              <a:buFont typeface="Webdings" pitchFamily="18" charset="2"/>
              <a:buNone/>
            </a:pPr>
            <a:r>
              <a:rPr lang="de-DE" altLang="en-US" sz="1400" dirty="0" err="1" smtClean="0">
                <a:solidFill>
                  <a:schemeClr val="bg1"/>
                </a:solidFill>
              </a:rPr>
              <a:t>Heating</a:t>
            </a:r>
            <a:endParaRPr lang="de-DE" altLang="en-US" sz="1400" b="1" dirty="0">
              <a:solidFill>
                <a:schemeClr val="bg1"/>
              </a:solidFill>
            </a:endParaRPr>
          </a:p>
        </p:txBody>
      </p:sp>
      <p:sp>
        <p:nvSpPr>
          <p:cNvPr id="52" name="AutoShape 4"/>
          <p:cNvSpPr>
            <a:spLocks noChangeArrowheads="1"/>
          </p:cNvSpPr>
          <p:nvPr/>
        </p:nvSpPr>
        <p:spPr bwMode="auto">
          <a:xfrm>
            <a:off x="6122467" y="2186691"/>
            <a:ext cx="1811161" cy="301625"/>
          </a:xfrm>
          <a:prstGeom prst="homePlate">
            <a:avLst>
              <a:gd name="adj" fmla="val 26032"/>
            </a:avLst>
          </a:prstGeom>
          <a:solidFill>
            <a:schemeClr val="accent6">
              <a:lumMod val="75000"/>
            </a:schemeClr>
          </a:solidFill>
          <a:ln>
            <a:noFill/>
          </a:ln>
          <a:effectLst/>
          <a:extLst/>
        </p:spPr>
        <p:txBody>
          <a:bodyPr anchor="ctr"/>
          <a:lstStyle/>
          <a:p>
            <a:pPr algn="ctr" eaLnBrk="0" hangingPunct="0">
              <a:buFont typeface="Webdings" pitchFamily="18" charset="2"/>
              <a:buNone/>
            </a:pPr>
            <a:r>
              <a:rPr lang="de-DE" altLang="en-US" sz="1400" dirty="0" err="1" smtClean="0">
                <a:solidFill>
                  <a:schemeClr val="bg1"/>
                </a:solidFill>
              </a:rPr>
              <a:t>Bending</a:t>
            </a:r>
            <a:endParaRPr lang="de-DE" altLang="en-US" sz="1400" b="1" dirty="0">
              <a:solidFill>
                <a:schemeClr val="bg1"/>
              </a:solidFill>
            </a:endParaRPr>
          </a:p>
        </p:txBody>
      </p:sp>
      <p:sp>
        <p:nvSpPr>
          <p:cNvPr id="53" name="AutoShape 4"/>
          <p:cNvSpPr>
            <a:spLocks noChangeArrowheads="1"/>
          </p:cNvSpPr>
          <p:nvPr/>
        </p:nvSpPr>
        <p:spPr bwMode="auto">
          <a:xfrm>
            <a:off x="8759121" y="2186458"/>
            <a:ext cx="1811161" cy="301625"/>
          </a:xfrm>
          <a:prstGeom prst="homePlate">
            <a:avLst>
              <a:gd name="adj" fmla="val 26032"/>
            </a:avLst>
          </a:prstGeom>
          <a:solidFill>
            <a:schemeClr val="accent6">
              <a:lumMod val="75000"/>
            </a:schemeClr>
          </a:solidFill>
          <a:ln>
            <a:noFill/>
          </a:ln>
          <a:effectLst/>
          <a:extLst/>
        </p:spPr>
        <p:txBody>
          <a:bodyPr anchor="ctr"/>
          <a:lstStyle/>
          <a:p>
            <a:pPr algn="ctr" eaLnBrk="0" hangingPunct="0">
              <a:buFont typeface="Webdings" pitchFamily="18" charset="2"/>
              <a:buNone/>
            </a:pPr>
            <a:r>
              <a:rPr lang="de-DE" altLang="en-US" sz="1400" dirty="0" err="1" smtClean="0">
                <a:solidFill>
                  <a:schemeClr val="bg1"/>
                </a:solidFill>
              </a:rPr>
              <a:t>Forced</a:t>
            </a:r>
            <a:r>
              <a:rPr lang="de-DE" altLang="en-US" sz="1400" dirty="0" smtClean="0">
                <a:solidFill>
                  <a:schemeClr val="bg1"/>
                </a:solidFill>
              </a:rPr>
              <a:t> </a:t>
            </a:r>
            <a:r>
              <a:rPr lang="de-DE" altLang="en-US" sz="1400" dirty="0" err="1" smtClean="0">
                <a:solidFill>
                  <a:schemeClr val="bg1"/>
                </a:solidFill>
              </a:rPr>
              <a:t>cooling</a:t>
            </a:r>
            <a:endParaRPr lang="de-DE" altLang="en-US" sz="1400" b="1" dirty="0">
              <a:solidFill>
                <a:schemeClr val="bg1"/>
              </a:solidFill>
            </a:endParaRPr>
          </a:p>
        </p:txBody>
      </p:sp>
      <p:sp>
        <p:nvSpPr>
          <p:cNvPr id="54" name="AutoShape 4"/>
          <p:cNvSpPr>
            <a:spLocks noChangeArrowheads="1"/>
          </p:cNvSpPr>
          <p:nvPr>
            <p:custDataLst>
              <p:tags r:id="rId44"/>
            </p:custDataLst>
          </p:nvPr>
        </p:nvSpPr>
        <p:spPr bwMode="auto">
          <a:xfrm>
            <a:off x="9969895" y="5701211"/>
            <a:ext cx="1811161" cy="301625"/>
          </a:xfrm>
          <a:prstGeom prst="homePlate">
            <a:avLst>
              <a:gd name="adj" fmla="val 26032"/>
            </a:avLst>
          </a:prstGeom>
          <a:solidFill>
            <a:schemeClr val="accent6">
              <a:lumMod val="75000"/>
            </a:schemeClr>
          </a:solidFill>
          <a:ln>
            <a:noFill/>
          </a:ln>
          <a:effectLst/>
          <a:extLst/>
        </p:spPr>
        <p:txBody>
          <a:bodyPr anchor="ctr"/>
          <a:lstStyle/>
          <a:p>
            <a:pPr algn="ctr" eaLnBrk="0" hangingPunct="0">
              <a:buFont typeface="Webdings" pitchFamily="18" charset="2"/>
              <a:buNone/>
            </a:pPr>
            <a:r>
              <a:rPr lang="de-DE" altLang="en-US" sz="1400" b="1" dirty="0" err="1" smtClean="0">
                <a:solidFill>
                  <a:schemeClr val="bg1"/>
                </a:solidFill>
              </a:rPr>
              <a:t>Inspection</a:t>
            </a:r>
            <a:endParaRPr lang="de-DE" altLang="en-US" sz="1400" b="1" dirty="0">
              <a:solidFill>
                <a:schemeClr val="bg1"/>
              </a:solidFill>
            </a:endParaRPr>
          </a:p>
        </p:txBody>
      </p:sp>
      <p:sp>
        <p:nvSpPr>
          <p:cNvPr id="55" name="Rectangle 54"/>
          <p:cNvSpPr/>
          <p:nvPr/>
        </p:nvSpPr>
        <p:spPr bwMode="auto">
          <a:xfrm>
            <a:off x="4694459" y="4155607"/>
            <a:ext cx="1389118" cy="269111"/>
          </a:xfrm>
          <a:prstGeom prst="rect">
            <a:avLst/>
          </a:prstGeom>
          <a:no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sz="1200" dirty="0" smtClean="0"/>
              <a:t>450 - 650</a:t>
            </a:r>
            <a:r>
              <a:rPr kumimoji="0" lang="en-US" sz="1200" b="1" i="0" u="none" strike="noStrike" cap="none" normalizeH="0" baseline="0" dirty="0" smtClean="0">
                <a:ln>
                  <a:noFill/>
                </a:ln>
                <a:solidFill>
                  <a:schemeClr val="tx1"/>
                </a:solidFill>
                <a:effectLst/>
              </a:rPr>
              <a:t>∘C</a:t>
            </a:r>
          </a:p>
        </p:txBody>
      </p:sp>
      <p:sp>
        <p:nvSpPr>
          <p:cNvPr id="59" name="Oval 58"/>
          <p:cNvSpPr/>
          <p:nvPr>
            <p:custDataLst>
              <p:tags r:id="rId45"/>
            </p:custDataLst>
          </p:nvPr>
        </p:nvSpPr>
        <p:spPr bwMode="auto">
          <a:xfrm>
            <a:off x="8935570" y="4554752"/>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60" name="Circular Arrow 116"/>
          <p:cNvSpPr/>
          <p:nvPr>
            <p:custDataLst>
              <p:tags r:id="rId46"/>
            </p:custDataLst>
          </p:nvPr>
        </p:nvSpPr>
        <p:spPr bwMode="auto">
          <a:xfrm>
            <a:off x="9029291" y="4652363"/>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61" name="Oval 60"/>
          <p:cNvSpPr/>
          <p:nvPr>
            <p:custDataLst>
              <p:tags r:id="rId47"/>
            </p:custDataLst>
          </p:nvPr>
        </p:nvSpPr>
        <p:spPr bwMode="auto">
          <a:xfrm>
            <a:off x="9392818" y="4526174"/>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62" name="Circular Arrow 116"/>
          <p:cNvSpPr/>
          <p:nvPr>
            <p:custDataLst>
              <p:tags r:id="rId48"/>
            </p:custDataLst>
          </p:nvPr>
        </p:nvSpPr>
        <p:spPr bwMode="auto">
          <a:xfrm>
            <a:off x="9486539" y="4623785"/>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63" name="Oval 62"/>
          <p:cNvSpPr/>
          <p:nvPr>
            <p:custDataLst>
              <p:tags r:id="rId49"/>
            </p:custDataLst>
          </p:nvPr>
        </p:nvSpPr>
        <p:spPr bwMode="auto">
          <a:xfrm>
            <a:off x="9835809" y="4521443"/>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64" name="Oval 63"/>
          <p:cNvSpPr/>
          <p:nvPr>
            <p:custDataLst>
              <p:tags r:id="rId50"/>
            </p:custDataLst>
          </p:nvPr>
        </p:nvSpPr>
        <p:spPr bwMode="auto">
          <a:xfrm>
            <a:off x="9996047" y="4663742"/>
            <a:ext cx="45719" cy="4571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65" name="Circular Arrow 116"/>
          <p:cNvSpPr/>
          <p:nvPr>
            <p:custDataLst>
              <p:tags r:id="rId51"/>
            </p:custDataLst>
          </p:nvPr>
        </p:nvSpPr>
        <p:spPr bwMode="auto">
          <a:xfrm>
            <a:off x="9929530" y="4619054"/>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66" name="Oval 65"/>
          <p:cNvSpPr/>
          <p:nvPr>
            <p:custDataLst>
              <p:tags r:id="rId52"/>
            </p:custDataLst>
          </p:nvPr>
        </p:nvSpPr>
        <p:spPr bwMode="auto">
          <a:xfrm>
            <a:off x="10273989" y="4521427"/>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67" name="Circular Arrow 116"/>
          <p:cNvSpPr/>
          <p:nvPr>
            <p:custDataLst>
              <p:tags r:id="rId53"/>
            </p:custDataLst>
          </p:nvPr>
        </p:nvSpPr>
        <p:spPr bwMode="auto">
          <a:xfrm>
            <a:off x="10367710" y="4619038"/>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68" name="Oval 67"/>
          <p:cNvSpPr/>
          <p:nvPr>
            <p:custDataLst>
              <p:tags r:id="rId54"/>
            </p:custDataLst>
          </p:nvPr>
        </p:nvSpPr>
        <p:spPr bwMode="auto">
          <a:xfrm>
            <a:off x="10708743" y="4531933"/>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69" name="Oval 68"/>
          <p:cNvSpPr/>
          <p:nvPr>
            <p:custDataLst>
              <p:tags r:id="rId55"/>
            </p:custDataLst>
          </p:nvPr>
        </p:nvSpPr>
        <p:spPr bwMode="auto">
          <a:xfrm>
            <a:off x="10868981" y="4674232"/>
            <a:ext cx="45719" cy="4571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70" name="Circular Arrow 116"/>
          <p:cNvSpPr/>
          <p:nvPr>
            <p:custDataLst>
              <p:tags r:id="rId56"/>
            </p:custDataLst>
          </p:nvPr>
        </p:nvSpPr>
        <p:spPr bwMode="auto">
          <a:xfrm>
            <a:off x="10802464" y="4629544"/>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71" name="Oval 70"/>
          <p:cNvSpPr/>
          <p:nvPr>
            <p:custDataLst>
              <p:tags r:id="rId57"/>
            </p:custDataLst>
          </p:nvPr>
        </p:nvSpPr>
        <p:spPr bwMode="auto">
          <a:xfrm>
            <a:off x="11146923" y="4531917"/>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72" name="Circular Arrow 116"/>
          <p:cNvSpPr/>
          <p:nvPr>
            <p:custDataLst>
              <p:tags r:id="rId58"/>
            </p:custDataLst>
          </p:nvPr>
        </p:nvSpPr>
        <p:spPr bwMode="auto">
          <a:xfrm>
            <a:off x="11240644" y="4629528"/>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73" name="Oval 72"/>
          <p:cNvSpPr/>
          <p:nvPr>
            <p:custDataLst>
              <p:tags r:id="rId59"/>
            </p:custDataLst>
          </p:nvPr>
        </p:nvSpPr>
        <p:spPr bwMode="auto">
          <a:xfrm>
            <a:off x="2728163" y="4531917"/>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74" name="Oval 73"/>
          <p:cNvSpPr/>
          <p:nvPr>
            <p:custDataLst>
              <p:tags r:id="rId60"/>
            </p:custDataLst>
          </p:nvPr>
        </p:nvSpPr>
        <p:spPr bwMode="auto">
          <a:xfrm>
            <a:off x="2888401" y="4674216"/>
            <a:ext cx="45719" cy="4571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75" name="Circular Arrow 116"/>
          <p:cNvSpPr/>
          <p:nvPr>
            <p:custDataLst>
              <p:tags r:id="rId61"/>
            </p:custDataLst>
          </p:nvPr>
        </p:nvSpPr>
        <p:spPr bwMode="auto">
          <a:xfrm>
            <a:off x="2821884" y="4629528"/>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76" name="Oval 75"/>
          <p:cNvSpPr/>
          <p:nvPr>
            <p:custDataLst>
              <p:tags r:id="rId62"/>
            </p:custDataLst>
          </p:nvPr>
        </p:nvSpPr>
        <p:spPr bwMode="auto">
          <a:xfrm>
            <a:off x="3166343" y="4531901"/>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77" name="Circular Arrow 116"/>
          <p:cNvSpPr/>
          <p:nvPr>
            <p:custDataLst>
              <p:tags r:id="rId63"/>
            </p:custDataLst>
          </p:nvPr>
        </p:nvSpPr>
        <p:spPr bwMode="auto">
          <a:xfrm>
            <a:off x="3260064" y="4629512"/>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78" name="Oval 77"/>
          <p:cNvSpPr/>
          <p:nvPr>
            <p:custDataLst>
              <p:tags r:id="rId64"/>
            </p:custDataLst>
          </p:nvPr>
        </p:nvSpPr>
        <p:spPr bwMode="auto">
          <a:xfrm>
            <a:off x="11550453" y="4521427"/>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79" name="Circular Arrow 116"/>
          <p:cNvSpPr/>
          <p:nvPr>
            <p:custDataLst>
              <p:tags r:id="rId65"/>
            </p:custDataLst>
          </p:nvPr>
        </p:nvSpPr>
        <p:spPr bwMode="auto">
          <a:xfrm>
            <a:off x="11644174" y="4619038"/>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80" name="Oval 79"/>
          <p:cNvSpPr/>
          <p:nvPr>
            <p:custDataLst>
              <p:tags r:id="rId66"/>
            </p:custDataLst>
          </p:nvPr>
        </p:nvSpPr>
        <p:spPr bwMode="auto">
          <a:xfrm>
            <a:off x="2329746" y="4531901"/>
            <a:ext cx="349572" cy="342973"/>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81" name="Circular Arrow 116"/>
          <p:cNvSpPr/>
          <p:nvPr>
            <p:custDataLst>
              <p:tags r:id="rId67"/>
            </p:custDataLst>
          </p:nvPr>
        </p:nvSpPr>
        <p:spPr bwMode="auto">
          <a:xfrm>
            <a:off x="2423467" y="4629512"/>
            <a:ext cx="172784" cy="148923"/>
          </a:xfrm>
          <a:custGeom>
            <a:avLst/>
            <a:gdLst>
              <a:gd name="connsiteX0" fmla="*/ 11769 w 188307"/>
              <a:gd name="connsiteY0" fmla="*/ 95253 h 190505"/>
              <a:gd name="connsiteX1" fmla="*/ 82360 w 188307"/>
              <a:gd name="connsiteY1" fmla="*/ 12630 h 190505"/>
              <a:gd name="connsiteX2" fmla="*/ 173328 w 188307"/>
              <a:gd name="connsiteY2" fmla="*/ 72181 h 190505"/>
              <a:gd name="connsiteX3" fmla="*/ 184553 w 188307"/>
              <a:gd name="connsiteY3" fmla="*/ 72180 h 190505"/>
              <a:gd name="connsiteX4" fmla="*/ 164769 w 188307"/>
              <a:gd name="connsiteY4" fmla="*/ 95252 h 190505"/>
              <a:gd name="connsiteX5" fmla="*/ 137476 w 188307"/>
              <a:gd name="connsiteY5" fmla="*/ 72180 h 190505"/>
              <a:gd name="connsiteX6" fmla="*/ 148466 w 188307"/>
              <a:gd name="connsiteY6" fmla="*/ 72180 h 190505"/>
              <a:gd name="connsiteX7" fmla="*/ 82203 w 188307"/>
              <a:gd name="connsiteY7" fmla="*/ 36557 h 190505"/>
              <a:gd name="connsiteX8" fmla="*/ 35307 w 188307"/>
              <a:gd name="connsiteY8" fmla="*/ 95253 h 190505"/>
              <a:gd name="connsiteX9" fmla="*/ 11769 w 188307"/>
              <a:gd name="connsiteY9" fmla="*/ 95253 h 190505"/>
              <a:gd name="connsiteX0" fmla="*/ 0 w 172784"/>
              <a:gd name="connsiteY0" fmla="*/ 83490 h 83490"/>
              <a:gd name="connsiteX1" fmla="*/ 70591 w 172784"/>
              <a:gd name="connsiteY1" fmla="*/ 867 h 83490"/>
              <a:gd name="connsiteX2" fmla="*/ 161559 w 172784"/>
              <a:gd name="connsiteY2" fmla="*/ 60418 h 83490"/>
              <a:gd name="connsiteX3" fmla="*/ 172784 w 172784"/>
              <a:gd name="connsiteY3" fmla="*/ 60417 h 83490"/>
              <a:gd name="connsiteX4" fmla="*/ 153000 w 172784"/>
              <a:gd name="connsiteY4" fmla="*/ 83489 h 83490"/>
              <a:gd name="connsiteX5" fmla="*/ 125707 w 172784"/>
              <a:gd name="connsiteY5" fmla="*/ 60417 h 83490"/>
              <a:gd name="connsiteX6" fmla="*/ 136697 w 172784"/>
              <a:gd name="connsiteY6" fmla="*/ 60417 h 83490"/>
              <a:gd name="connsiteX7" fmla="*/ 84722 w 172784"/>
              <a:gd name="connsiteY7" fmla="*/ 58131 h 83490"/>
              <a:gd name="connsiteX8" fmla="*/ 23538 w 172784"/>
              <a:gd name="connsiteY8" fmla="*/ 83490 h 83490"/>
              <a:gd name="connsiteX9" fmla="*/ 0 w 172784"/>
              <a:gd name="connsiteY9" fmla="*/ 83490 h 83490"/>
              <a:gd name="connsiteX0" fmla="*/ 0 w 172784"/>
              <a:gd name="connsiteY0" fmla="*/ 83490 h 91982"/>
              <a:gd name="connsiteX1" fmla="*/ 70591 w 172784"/>
              <a:gd name="connsiteY1" fmla="*/ 867 h 91982"/>
              <a:gd name="connsiteX2" fmla="*/ 161559 w 172784"/>
              <a:gd name="connsiteY2" fmla="*/ 60418 h 91982"/>
              <a:gd name="connsiteX3" fmla="*/ 172784 w 172784"/>
              <a:gd name="connsiteY3" fmla="*/ 60417 h 91982"/>
              <a:gd name="connsiteX4" fmla="*/ 153000 w 172784"/>
              <a:gd name="connsiteY4" fmla="*/ 83489 h 91982"/>
              <a:gd name="connsiteX5" fmla="*/ 125707 w 172784"/>
              <a:gd name="connsiteY5" fmla="*/ 60417 h 91982"/>
              <a:gd name="connsiteX6" fmla="*/ 136697 w 172784"/>
              <a:gd name="connsiteY6" fmla="*/ 60417 h 91982"/>
              <a:gd name="connsiteX7" fmla="*/ 84722 w 172784"/>
              <a:gd name="connsiteY7" fmla="*/ 91432 h 91982"/>
              <a:gd name="connsiteX8" fmla="*/ 23538 w 172784"/>
              <a:gd name="connsiteY8" fmla="*/ 83490 h 91982"/>
              <a:gd name="connsiteX9" fmla="*/ 0 w 172784"/>
              <a:gd name="connsiteY9" fmla="*/ 83490 h 91982"/>
              <a:gd name="connsiteX0" fmla="*/ 0 w 172784"/>
              <a:gd name="connsiteY0" fmla="*/ 83490 h 129789"/>
              <a:gd name="connsiteX1" fmla="*/ 70591 w 172784"/>
              <a:gd name="connsiteY1" fmla="*/ 867 h 129789"/>
              <a:gd name="connsiteX2" fmla="*/ 161559 w 172784"/>
              <a:gd name="connsiteY2" fmla="*/ 60418 h 129789"/>
              <a:gd name="connsiteX3" fmla="*/ 172784 w 172784"/>
              <a:gd name="connsiteY3" fmla="*/ 60417 h 129789"/>
              <a:gd name="connsiteX4" fmla="*/ 153000 w 172784"/>
              <a:gd name="connsiteY4" fmla="*/ 83489 h 129789"/>
              <a:gd name="connsiteX5" fmla="*/ 125707 w 172784"/>
              <a:gd name="connsiteY5" fmla="*/ 60417 h 129789"/>
              <a:gd name="connsiteX6" fmla="*/ 136697 w 172784"/>
              <a:gd name="connsiteY6" fmla="*/ 60417 h 129789"/>
              <a:gd name="connsiteX7" fmla="*/ 89484 w 172784"/>
              <a:gd name="connsiteY7" fmla="*/ 129491 h 129789"/>
              <a:gd name="connsiteX8" fmla="*/ 23538 w 172784"/>
              <a:gd name="connsiteY8" fmla="*/ 83490 h 129789"/>
              <a:gd name="connsiteX9" fmla="*/ 0 w 172784"/>
              <a:gd name="connsiteY9" fmla="*/ 83490 h 129789"/>
              <a:gd name="connsiteX0" fmla="*/ 0 w 172784"/>
              <a:gd name="connsiteY0" fmla="*/ 83490 h 148763"/>
              <a:gd name="connsiteX1" fmla="*/ 70591 w 172784"/>
              <a:gd name="connsiteY1" fmla="*/ 867 h 148763"/>
              <a:gd name="connsiteX2" fmla="*/ 161559 w 172784"/>
              <a:gd name="connsiteY2" fmla="*/ 60418 h 148763"/>
              <a:gd name="connsiteX3" fmla="*/ 172784 w 172784"/>
              <a:gd name="connsiteY3" fmla="*/ 60417 h 148763"/>
              <a:gd name="connsiteX4" fmla="*/ 153000 w 172784"/>
              <a:gd name="connsiteY4" fmla="*/ 83489 h 148763"/>
              <a:gd name="connsiteX5" fmla="*/ 125707 w 172784"/>
              <a:gd name="connsiteY5" fmla="*/ 60417 h 148763"/>
              <a:gd name="connsiteX6" fmla="*/ 136697 w 172784"/>
              <a:gd name="connsiteY6" fmla="*/ 60417 h 148763"/>
              <a:gd name="connsiteX7" fmla="*/ 103771 w 172784"/>
              <a:gd name="connsiteY7" fmla="*/ 148521 h 148763"/>
              <a:gd name="connsiteX8" fmla="*/ 23538 w 172784"/>
              <a:gd name="connsiteY8" fmla="*/ 83490 h 148763"/>
              <a:gd name="connsiteX9" fmla="*/ 0 w 172784"/>
              <a:gd name="connsiteY9" fmla="*/ 83490 h 14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84" h="148763">
                <a:moveTo>
                  <a:pt x="0" y="83490"/>
                </a:moveTo>
                <a:cubicBezTo>
                  <a:pt x="0" y="42000"/>
                  <a:pt x="30069" y="6806"/>
                  <a:pt x="70591" y="867"/>
                </a:cubicBezTo>
                <a:cubicBezTo>
                  <a:pt x="111338" y="-5105"/>
                  <a:pt x="150181" y="20322"/>
                  <a:pt x="161559" y="60418"/>
                </a:cubicBezTo>
                <a:lnTo>
                  <a:pt x="172784" y="60417"/>
                </a:lnTo>
                <a:lnTo>
                  <a:pt x="153000" y="83489"/>
                </a:lnTo>
                <a:lnTo>
                  <a:pt x="125707" y="60417"/>
                </a:lnTo>
                <a:lnTo>
                  <a:pt x="136697" y="60417"/>
                </a:lnTo>
                <a:cubicBezTo>
                  <a:pt x="125842" y="33902"/>
                  <a:pt x="131385" y="142686"/>
                  <a:pt x="103771" y="148521"/>
                </a:cubicBezTo>
                <a:cubicBezTo>
                  <a:pt x="76459" y="154291"/>
                  <a:pt x="23538" y="55075"/>
                  <a:pt x="23538" y="83490"/>
                </a:cubicBezTo>
                <a:lnTo>
                  <a:pt x="0" y="83490"/>
                </a:lnTo>
                <a:close/>
              </a:path>
            </a:pathLst>
          </a:custGeom>
          <a:solidFill>
            <a:schemeClr val="bg2">
              <a:lumMod val="60000"/>
              <a:lumOff val="40000"/>
            </a:schemeClr>
          </a:solidFill>
          <a:ln w="12700" cap="flat" cmpd="sng" algn="ctr">
            <a:solidFill>
              <a:schemeClr val="tx1"/>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Tree>
    <p:extLst>
      <p:ext uri="{BB962C8B-B14F-4D97-AF65-F5344CB8AC3E}">
        <p14:creationId xmlns:p14="http://schemas.microsoft.com/office/powerpoint/2010/main" val="2889827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1" nodeType="clickEffect">
                                  <p:stCondLst>
                                    <p:cond delay="0"/>
                                  </p:stCondLst>
                                  <p:childTnLst>
                                    <p:animMotion origin="layout" path="M -4.16667E-6 3.33333E-6 L -4.16667E-6 0.25 " pathEditMode="relative" rAng="0" ptsTypes="AA">
                                      <p:cBhvr>
                                        <p:cTn id="6" dur="3000" fill="hold"/>
                                        <p:tgtEl>
                                          <p:spTgt spid="11"/>
                                        </p:tgtEl>
                                        <p:attrNameLst>
                                          <p:attrName>ppt_x</p:attrName>
                                          <p:attrName>ppt_y</p:attrName>
                                        </p:attrNameLst>
                                      </p:cBhvr>
                                      <p:rCtr x="0" y="12500"/>
                                    </p:animMotion>
                                  </p:childTnLst>
                                </p:cTn>
                              </p:par>
                              <p:par>
                                <p:cTn id="7" presetID="19" presetClass="exit" presetSubtype="5" fill="hold" grpId="0" nodeType="withEffect">
                                  <p:stCondLst>
                                    <p:cond delay="0"/>
                                  </p:stCondLst>
                                  <p:childTnLst>
                                    <p:anim calcmode="lin" valueType="num">
                                      <p:cBhvr>
                                        <p:cTn id="8" dur="2000"/>
                                        <p:tgtEl>
                                          <p:spTgt spid="11"/>
                                        </p:tgtEl>
                                        <p:attrNameLst>
                                          <p:attrName>ppt_w</p:attrName>
                                        </p:attrNameLst>
                                      </p:cBhvr>
                                      <p:tavLst>
                                        <p:tav tm="0">
                                          <p:val>
                                            <p:strVal val="ppt_w"/>
                                          </p:val>
                                        </p:tav>
                                        <p:tav tm="100000">
                                          <p:val>
                                            <p:strVal val="ppt_w"/>
                                          </p:val>
                                        </p:tav>
                                      </p:tavLst>
                                    </p:anim>
                                    <p:anim calcmode="lin" valueType="num">
                                      <p:cBhvr>
                                        <p:cTn id="9" dur="2000"/>
                                        <p:tgtEl>
                                          <p:spTgt spid="11"/>
                                        </p:tgtEl>
                                        <p:attrNameLst>
                                          <p:attrName>ppt_h</p:attrName>
                                        </p:attrNameLst>
                                      </p:cBhvr>
                                      <p:tavLst>
                                        <p:tav tm="0">
                                          <p:val>
                                            <p:strVal val="ppt_h"/>
                                          </p:val>
                                        </p:tav>
                                        <p:tav tm="5000">
                                          <p:val>
                                            <p:strVal val="0.92*ppt_h"/>
                                          </p:val>
                                        </p:tav>
                                        <p:tav tm="10000">
                                          <p:val>
                                            <p:strVal val="0.71*ppt_h"/>
                                          </p:val>
                                        </p:tav>
                                        <p:tav tm="15000">
                                          <p:val>
                                            <p:strVal val="0.38*ppt_h"/>
                                          </p:val>
                                        </p:tav>
                                        <p:tav tm="20000">
                                          <p:val>
                                            <p:fltVal val="0"/>
                                          </p:val>
                                        </p:tav>
                                        <p:tav tm="25000">
                                          <p:val>
                                            <p:strVal val="-0.38*ppt_h"/>
                                          </p:val>
                                        </p:tav>
                                        <p:tav tm="30000">
                                          <p:val>
                                            <p:strVal val="-0.71*ppt_h"/>
                                          </p:val>
                                        </p:tav>
                                        <p:tav tm="35000">
                                          <p:val>
                                            <p:strVal val="-0.92*ppt_h"/>
                                          </p:val>
                                        </p:tav>
                                        <p:tav tm="40000">
                                          <p:val>
                                            <p:strVal val="-ppt_h"/>
                                          </p:val>
                                        </p:tav>
                                        <p:tav tm="45000">
                                          <p:val>
                                            <p:strVal val="-0.92*ppt_h"/>
                                          </p:val>
                                        </p:tav>
                                        <p:tav tm="50000">
                                          <p:val>
                                            <p:strVal val="-0.71*ppt_h"/>
                                          </p:val>
                                        </p:tav>
                                        <p:tav tm="55000">
                                          <p:val>
                                            <p:strVal val="-0.38*ppt_h"/>
                                          </p:val>
                                        </p:tav>
                                        <p:tav tm="60000">
                                          <p:val>
                                            <p:fltVal val="0"/>
                                          </p:val>
                                        </p:tav>
                                        <p:tav tm="65000">
                                          <p:val>
                                            <p:strVal val="0.38*ppt_h"/>
                                          </p:val>
                                        </p:tav>
                                        <p:tav tm="70000">
                                          <p:val>
                                            <p:strVal val="0.71*ppt_h"/>
                                          </p:val>
                                        </p:tav>
                                        <p:tav tm="75000">
                                          <p:val>
                                            <p:strVal val="0.92*ppt_h"/>
                                          </p:val>
                                        </p:tav>
                                        <p:tav tm="80000">
                                          <p:val>
                                            <p:strVal val="ppt_h"/>
                                          </p:val>
                                        </p:tav>
                                        <p:tav tm="85000">
                                          <p:val>
                                            <p:strVal val="0.92*ppt_h"/>
                                          </p:val>
                                        </p:tav>
                                        <p:tav tm="90000">
                                          <p:val>
                                            <p:strVal val="0.71*ppt_h"/>
                                          </p:val>
                                        </p:tav>
                                        <p:tav tm="95000">
                                          <p:val>
                                            <p:strVal val="0.38*ppt_h"/>
                                          </p:val>
                                        </p:tav>
                                        <p:tav tm="100000">
                                          <p:val>
                                            <p:fltVal val="0"/>
                                          </p:val>
                                        </p:tav>
                                      </p:tavLst>
                                    </p:anim>
                                    <p:set>
                                      <p:cBhvr>
                                        <p:cTn id="10" dur="1" fill="hold">
                                          <p:stCondLst>
                                            <p:cond delay="1999"/>
                                          </p:stCondLst>
                                        </p:cTn>
                                        <p:tgtEl>
                                          <p:spTgt spid="11"/>
                                        </p:tgtEl>
                                        <p:attrNameLst>
                                          <p:attrName>style.visibility</p:attrName>
                                        </p:attrNameLst>
                                      </p:cBhvr>
                                      <p:to>
                                        <p:strVal val="hidden"/>
                                      </p:to>
                                    </p:set>
                                  </p:childTnLst>
                                </p:cTn>
                              </p:par>
                              <p:par>
                                <p:cTn id="11" presetID="10" presetClass="entr" presetSubtype="0" fill="hold" grpId="2" nodeType="withEffect">
                                  <p:stCondLst>
                                    <p:cond delay="75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8" presetClass="emph" presetSubtype="0" repeatCount="indefinite" fill="hold" grpId="0" nodeType="clickEffect">
                                  <p:stCondLst>
                                    <p:cond delay="0"/>
                                  </p:stCondLst>
                                  <p:childTnLst>
                                    <p:animRot by="21600000">
                                      <p:cBhvr>
                                        <p:cTn id="17" dur="3000" fill="hold"/>
                                        <p:tgtEl>
                                          <p:spTgt spid="15"/>
                                        </p:tgtEl>
                                        <p:attrNameLst>
                                          <p:attrName>r</p:attrName>
                                        </p:attrNameLst>
                                      </p:cBhvr>
                                    </p:animRot>
                                  </p:childTnLst>
                                </p:cTn>
                              </p:par>
                              <p:par>
                                <p:cTn id="18" presetID="8" presetClass="emph" presetSubtype="0" repeatCount="indefinite" fill="hold" grpId="0" nodeType="withEffect">
                                  <p:stCondLst>
                                    <p:cond delay="0"/>
                                  </p:stCondLst>
                                  <p:childTnLst>
                                    <p:animRot by="21600000">
                                      <p:cBhvr>
                                        <p:cTn id="19" dur="2000" fill="hold"/>
                                        <p:tgtEl>
                                          <p:spTgt spid="81"/>
                                        </p:tgtEl>
                                        <p:attrNameLst>
                                          <p:attrName>r</p:attrName>
                                        </p:attrNameLst>
                                      </p:cBhvr>
                                    </p:animRot>
                                  </p:childTnLst>
                                </p:cTn>
                              </p:par>
                              <p:par>
                                <p:cTn id="20" presetID="8" presetClass="emph" presetSubtype="0" repeatCount="indefinite" fill="hold" grpId="0" nodeType="withEffect">
                                  <p:stCondLst>
                                    <p:cond delay="0"/>
                                  </p:stCondLst>
                                  <p:childTnLst>
                                    <p:animRot by="21600000">
                                      <p:cBhvr>
                                        <p:cTn id="21" dur="2000" fill="hold"/>
                                        <p:tgtEl>
                                          <p:spTgt spid="75"/>
                                        </p:tgtEl>
                                        <p:attrNameLst>
                                          <p:attrName>r</p:attrName>
                                        </p:attrNameLst>
                                      </p:cBhvr>
                                    </p:animRot>
                                  </p:childTnLst>
                                </p:cTn>
                              </p:par>
                              <p:par>
                                <p:cTn id="22" presetID="8" presetClass="emph" presetSubtype="0" repeatCount="indefinite" fill="hold" grpId="0" nodeType="withEffect">
                                  <p:stCondLst>
                                    <p:cond delay="0"/>
                                  </p:stCondLst>
                                  <p:childTnLst>
                                    <p:animRot by="21600000">
                                      <p:cBhvr>
                                        <p:cTn id="23" dur="2000" fill="hold"/>
                                        <p:tgtEl>
                                          <p:spTgt spid="77"/>
                                        </p:tgtEl>
                                        <p:attrNameLst>
                                          <p:attrName>r</p:attrName>
                                        </p:attrNameLst>
                                      </p:cBhvr>
                                    </p:animRot>
                                  </p:childTnLst>
                                </p:cTn>
                              </p:par>
                              <p:par>
                                <p:cTn id="24" presetID="8" presetClass="emph" presetSubtype="0" repeatCount="indefinite" fill="hold" grpId="0" nodeType="withEffect">
                                  <p:stCondLst>
                                    <p:cond delay="0"/>
                                  </p:stCondLst>
                                  <p:childTnLst>
                                    <p:animRot by="21600000">
                                      <p:cBhvr>
                                        <p:cTn id="25" dur="2000" fill="hold"/>
                                        <p:tgtEl>
                                          <p:spTgt spid="46"/>
                                        </p:tgtEl>
                                        <p:attrNameLst>
                                          <p:attrName>r</p:attrName>
                                        </p:attrNameLst>
                                      </p:cBhvr>
                                    </p:animRot>
                                  </p:childTnLst>
                                </p:cTn>
                              </p:par>
                              <p:par>
                                <p:cTn id="26" presetID="8" presetClass="emph" presetSubtype="0" repeatCount="indefinite" fill="hold" grpId="0" nodeType="withEffect">
                                  <p:stCondLst>
                                    <p:cond delay="0"/>
                                  </p:stCondLst>
                                  <p:childTnLst>
                                    <p:animRot by="21600000">
                                      <p:cBhvr>
                                        <p:cTn id="27" dur="2000" fill="hold"/>
                                        <p:tgtEl>
                                          <p:spTgt spid="40"/>
                                        </p:tgtEl>
                                        <p:attrNameLst>
                                          <p:attrName>r</p:attrName>
                                        </p:attrNameLst>
                                      </p:cBhvr>
                                    </p:animRot>
                                  </p:childTnLst>
                                </p:cTn>
                              </p:par>
                              <p:par>
                                <p:cTn id="28" presetID="8" presetClass="emph" presetSubtype="0" repeatCount="indefinite" fill="hold" grpId="0" nodeType="withEffect">
                                  <p:stCondLst>
                                    <p:cond delay="0"/>
                                  </p:stCondLst>
                                  <p:childTnLst>
                                    <p:animRot by="21600000">
                                      <p:cBhvr>
                                        <p:cTn id="29" dur="2000" fill="hold"/>
                                        <p:tgtEl>
                                          <p:spTgt spid="43"/>
                                        </p:tgtEl>
                                        <p:attrNameLst>
                                          <p:attrName>r</p:attrName>
                                        </p:attrNameLst>
                                      </p:cBhvr>
                                    </p:animRot>
                                  </p:childTnLst>
                                </p:cTn>
                              </p:par>
                              <p:par>
                                <p:cTn id="30" presetID="8" presetClass="emph" presetSubtype="0" repeatCount="indefinite" fill="hold" grpId="0" nodeType="withEffect">
                                  <p:stCondLst>
                                    <p:cond delay="0"/>
                                  </p:stCondLst>
                                  <p:childTnLst>
                                    <p:animRot by="21600000">
                                      <p:cBhvr>
                                        <p:cTn id="31" dur="2000" fill="hold"/>
                                        <p:tgtEl>
                                          <p:spTgt spid="17"/>
                                        </p:tgtEl>
                                        <p:attrNameLst>
                                          <p:attrName>r</p:attrName>
                                        </p:attrNameLst>
                                      </p:cBhvr>
                                    </p:animRot>
                                  </p:childTnLst>
                                </p:cTn>
                              </p:par>
                              <p:par>
                                <p:cTn id="32" presetID="8" presetClass="emph" presetSubtype="0" repeatCount="indefinite" fill="hold" grpId="0" nodeType="withEffect">
                                  <p:stCondLst>
                                    <p:cond delay="0"/>
                                  </p:stCondLst>
                                  <p:childTnLst>
                                    <p:animRot by="21600000">
                                      <p:cBhvr>
                                        <p:cTn id="33" dur="2000" fill="hold"/>
                                        <p:tgtEl>
                                          <p:spTgt spid="19"/>
                                        </p:tgtEl>
                                        <p:attrNameLst>
                                          <p:attrName>r</p:attrName>
                                        </p:attrNameLst>
                                      </p:cBhvr>
                                    </p:animRot>
                                  </p:childTnLst>
                                </p:cTn>
                              </p:par>
                              <p:par>
                                <p:cTn id="34" presetID="8" presetClass="emph" presetSubtype="0" repeatCount="indefinite" fill="hold" grpId="0" nodeType="withEffect">
                                  <p:stCondLst>
                                    <p:cond delay="0"/>
                                  </p:stCondLst>
                                  <p:childTnLst>
                                    <p:animRot by="21600000">
                                      <p:cBhvr>
                                        <p:cTn id="35" dur="2000" fill="hold"/>
                                        <p:tgtEl>
                                          <p:spTgt spid="21"/>
                                        </p:tgtEl>
                                        <p:attrNameLst>
                                          <p:attrName>r</p:attrName>
                                        </p:attrNameLst>
                                      </p:cBhvr>
                                    </p:animRot>
                                  </p:childTnLst>
                                </p:cTn>
                              </p:par>
                              <p:par>
                                <p:cTn id="36" presetID="8" presetClass="emph" presetSubtype="0" repeatCount="indefinite" fill="hold" grpId="0" nodeType="withEffect">
                                  <p:stCondLst>
                                    <p:cond delay="0"/>
                                  </p:stCondLst>
                                  <p:childTnLst>
                                    <p:animRot by="21600000">
                                      <p:cBhvr>
                                        <p:cTn id="37" dur="2000" fill="hold"/>
                                        <p:tgtEl>
                                          <p:spTgt spid="23"/>
                                        </p:tgtEl>
                                        <p:attrNameLst>
                                          <p:attrName>r</p:attrName>
                                        </p:attrNameLst>
                                      </p:cBhvr>
                                    </p:animRot>
                                  </p:childTnLst>
                                </p:cTn>
                              </p:par>
                              <p:par>
                                <p:cTn id="38" presetID="8" presetClass="emph" presetSubtype="0" repeatCount="indefinite" fill="hold" grpId="0" nodeType="withEffect">
                                  <p:stCondLst>
                                    <p:cond delay="0"/>
                                  </p:stCondLst>
                                  <p:childTnLst>
                                    <p:animRot by="21600000">
                                      <p:cBhvr>
                                        <p:cTn id="39" dur="2000" fill="hold"/>
                                        <p:tgtEl>
                                          <p:spTgt spid="25"/>
                                        </p:tgtEl>
                                        <p:attrNameLst>
                                          <p:attrName>r</p:attrName>
                                        </p:attrNameLst>
                                      </p:cBhvr>
                                    </p:animRot>
                                  </p:childTnLst>
                                </p:cTn>
                              </p:par>
                              <p:par>
                                <p:cTn id="40" presetID="8" presetClass="emph" presetSubtype="0" repeatCount="indefinite" fill="hold" grpId="0" nodeType="withEffect">
                                  <p:stCondLst>
                                    <p:cond delay="0"/>
                                  </p:stCondLst>
                                  <p:childTnLst>
                                    <p:animRot by="21600000">
                                      <p:cBhvr>
                                        <p:cTn id="41" dur="2000" fill="hold"/>
                                        <p:tgtEl>
                                          <p:spTgt spid="27"/>
                                        </p:tgtEl>
                                        <p:attrNameLst>
                                          <p:attrName>r</p:attrName>
                                        </p:attrNameLst>
                                      </p:cBhvr>
                                    </p:animRot>
                                  </p:childTnLst>
                                </p:cTn>
                              </p:par>
                              <p:par>
                                <p:cTn id="42" presetID="8" presetClass="emph" presetSubtype="0" repeatCount="indefinite" fill="hold" grpId="0" nodeType="withEffect">
                                  <p:stCondLst>
                                    <p:cond delay="0"/>
                                  </p:stCondLst>
                                  <p:childTnLst>
                                    <p:animRot by="21600000">
                                      <p:cBhvr>
                                        <p:cTn id="43" dur="2000" fill="hold"/>
                                        <p:tgtEl>
                                          <p:spTgt spid="72"/>
                                        </p:tgtEl>
                                        <p:attrNameLst>
                                          <p:attrName>r</p:attrName>
                                        </p:attrNameLst>
                                      </p:cBhvr>
                                    </p:animRot>
                                  </p:childTnLst>
                                </p:cTn>
                              </p:par>
                              <p:par>
                                <p:cTn id="44" presetID="8" presetClass="emph" presetSubtype="0" repeatCount="indefinite" fill="hold" grpId="0" nodeType="withEffect">
                                  <p:stCondLst>
                                    <p:cond delay="0"/>
                                  </p:stCondLst>
                                  <p:childTnLst>
                                    <p:animRot by="21600000">
                                      <p:cBhvr>
                                        <p:cTn id="45" dur="2000" fill="hold"/>
                                        <p:tgtEl>
                                          <p:spTgt spid="30"/>
                                        </p:tgtEl>
                                        <p:attrNameLst>
                                          <p:attrName>r</p:attrName>
                                        </p:attrNameLst>
                                      </p:cBhvr>
                                    </p:animRot>
                                  </p:childTnLst>
                                </p:cTn>
                              </p:par>
                              <p:par>
                                <p:cTn id="46" presetID="8" presetClass="emph" presetSubtype="0" repeatCount="indefinite" fill="hold" grpId="0" nodeType="withEffect">
                                  <p:stCondLst>
                                    <p:cond delay="0"/>
                                  </p:stCondLst>
                                  <p:childTnLst>
                                    <p:animRot by="21600000">
                                      <p:cBhvr>
                                        <p:cTn id="47" dur="2000" fill="hold"/>
                                        <p:tgtEl>
                                          <p:spTgt spid="32"/>
                                        </p:tgtEl>
                                        <p:attrNameLst>
                                          <p:attrName>r</p:attrName>
                                        </p:attrNameLst>
                                      </p:cBhvr>
                                    </p:animRot>
                                  </p:childTnLst>
                                </p:cTn>
                              </p:par>
                              <p:par>
                                <p:cTn id="48" presetID="8" presetClass="emph" presetSubtype="0" repeatCount="indefinite" fill="hold" grpId="0" nodeType="withEffect">
                                  <p:stCondLst>
                                    <p:cond delay="0"/>
                                  </p:stCondLst>
                                  <p:childTnLst>
                                    <p:animRot by="-21600000">
                                      <p:cBhvr>
                                        <p:cTn id="49" dur="2000" fill="hold"/>
                                        <p:tgtEl>
                                          <p:spTgt spid="35"/>
                                        </p:tgtEl>
                                        <p:attrNameLst>
                                          <p:attrName>r</p:attrName>
                                        </p:attrNameLst>
                                      </p:cBhvr>
                                    </p:animRot>
                                  </p:childTnLst>
                                </p:cTn>
                              </p:par>
                              <p:par>
                                <p:cTn id="50" presetID="8" presetClass="emph" presetSubtype="0" repeatCount="indefinite" fill="hold" grpId="0" nodeType="withEffect">
                                  <p:stCondLst>
                                    <p:cond delay="0"/>
                                  </p:stCondLst>
                                  <p:childTnLst>
                                    <p:animRot by="-21600000">
                                      <p:cBhvr>
                                        <p:cTn id="51" dur="2000" fill="hold"/>
                                        <p:tgtEl>
                                          <p:spTgt spid="37"/>
                                        </p:tgtEl>
                                        <p:attrNameLst>
                                          <p:attrName>r</p:attrName>
                                        </p:attrNameLst>
                                      </p:cBhvr>
                                    </p:animRot>
                                  </p:childTnLst>
                                </p:cTn>
                              </p:par>
                              <p:par>
                                <p:cTn id="52" presetID="8" presetClass="emph" presetSubtype="0" repeatCount="indefinite" fill="hold" grpId="0" nodeType="withEffect">
                                  <p:stCondLst>
                                    <p:cond delay="0"/>
                                  </p:stCondLst>
                                  <p:childTnLst>
                                    <p:animRot by="21600000">
                                      <p:cBhvr>
                                        <p:cTn id="53" dur="2000" fill="hold"/>
                                        <p:tgtEl>
                                          <p:spTgt spid="60"/>
                                        </p:tgtEl>
                                        <p:attrNameLst>
                                          <p:attrName>r</p:attrName>
                                        </p:attrNameLst>
                                      </p:cBhvr>
                                    </p:animRot>
                                  </p:childTnLst>
                                </p:cTn>
                              </p:par>
                              <p:par>
                                <p:cTn id="54" presetID="8" presetClass="emph" presetSubtype="0" repeatCount="indefinite" fill="hold" grpId="0" nodeType="withEffect">
                                  <p:stCondLst>
                                    <p:cond delay="0"/>
                                  </p:stCondLst>
                                  <p:childTnLst>
                                    <p:animRot by="21600000">
                                      <p:cBhvr>
                                        <p:cTn id="55" dur="2000" fill="hold"/>
                                        <p:tgtEl>
                                          <p:spTgt spid="62"/>
                                        </p:tgtEl>
                                        <p:attrNameLst>
                                          <p:attrName>r</p:attrName>
                                        </p:attrNameLst>
                                      </p:cBhvr>
                                    </p:animRot>
                                  </p:childTnLst>
                                </p:cTn>
                              </p:par>
                              <p:par>
                                <p:cTn id="56" presetID="8" presetClass="emph" presetSubtype="0" repeatCount="indefinite" fill="hold" grpId="0" nodeType="withEffect">
                                  <p:stCondLst>
                                    <p:cond delay="0"/>
                                  </p:stCondLst>
                                  <p:childTnLst>
                                    <p:animRot by="21600000">
                                      <p:cBhvr>
                                        <p:cTn id="57" dur="2000" fill="hold"/>
                                        <p:tgtEl>
                                          <p:spTgt spid="65"/>
                                        </p:tgtEl>
                                        <p:attrNameLst>
                                          <p:attrName>r</p:attrName>
                                        </p:attrNameLst>
                                      </p:cBhvr>
                                    </p:animRot>
                                  </p:childTnLst>
                                </p:cTn>
                              </p:par>
                              <p:par>
                                <p:cTn id="58" presetID="8" presetClass="emph" presetSubtype="0" repeatCount="indefinite" fill="hold" grpId="0" nodeType="withEffect">
                                  <p:stCondLst>
                                    <p:cond delay="0"/>
                                  </p:stCondLst>
                                  <p:childTnLst>
                                    <p:animRot by="21600000">
                                      <p:cBhvr>
                                        <p:cTn id="59" dur="2000" fill="hold"/>
                                        <p:tgtEl>
                                          <p:spTgt spid="67"/>
                                        </p:tgtEl>
                                        <p:attrNameLst>
                                          <p:attrName>r</p:attrName>
                                        </p:attrNameLst>
                                      </p:cBhvr>
                                    </p:animRot>
                                  </p:childTnLst>
                                </p:cTn>
                              </p:par>
                              <p:par>
                                <p:cTn id="60" presetID="8" presetClass="emph" presetSubtype="0" repeatCount="indefinite" fill="hold" grpId="0" nodeType="withEffect">
                                  <p:stCondLst>
                                    <p:cond delay="0"/>
                                  </p:stCondLst>
                                  <p:childTnLst>
                                    <p:animRot by="21600000">
                                      <p:cBhvr>
                                        <p:cTn id="61" dur="2000" fill="hold"/>
                                        <p:tgtEl>
                                          <p:spTgt spid="70"/>
                                        </p:tgtEl>
                                        <p:attrNameLst>
                                          <p:attrName>r</p:attrName>
                                        </p:attrNameLst>
                                      </p:cBhvr>
                                    </p:animRot>
                                  </p:childTnLst>
                                </p:cTn>
                              </p:par>
                              <p:par>
                                <p:cTn id="62" presetID="8" presetClass="emph" presetSubtype="0" repeatCount="indefinite" fill="hold" grpId="0" nodeType="withEffect">
                                  <p:stCondLst>
                                    <p:cond delay="0"/>
                                  </p:stCondLst>
                                  <p:childTnLst>
                                    <p:animRot by="21600000">
                                      <p:cBhvr>
                                        <p:cTn id="63" dur="2000" fill="hold"/>
                                        <p:tgtEl>
                                          <p:spTgt spid="79"/>
                                        </p:tgtEl>
                                        <p:attrNameLst>
                                          <p:attrName>r</p:attrName>
                                        </p:attrNameLst>
                                      </p:cBhvr>
                                    </p:animRot>
                                  </p:childTnLst>
                                </p:cTn>
                              </p:par>
                              <p:par>
                                <p:cTn id="64" presetID="63" presetClass="path" presetSubtype="0" accel="50000" decel="50000" fill="hold" grpId="0" nodeType="withEffect">
                                  <p:stCondLst>
                                    <p:cond delay="1400"/>
                                  </p:stCondLst>
                                  <p:childTnLst>
                                    <p:animMotion origin="layout" path="M 0.00104 0.00023 L 0.34297 0.00278 " pathEditMode="relative" rAng="0" ptsTypes="AA">
                                      <p:cBhvr>
                                        <p:cTn id="65" dur="5000" fill="hold"/>
                                        <p:tgtEl>
                                          <p:spTgt spid="10"/>
                                        </p:tgtEl>
                                        <p:attrNameLst>
                                          <p:attrName>ppt_x</p:attrName>
                                          <p:attrName>ppt_y</p:attrName>
                                        </p:attrNameLst>
                                      </p:cBhvr>
                                      <p:rCtr x="17096" y="116"/>
                                    </p:animMotion>
                                  </p:childTnLst>
                                </p:cTn>
                              </p:par>
                              <p:par>
                                <p:cTn id="66" presetID="10" presetClass="exit" presetSubtype="0" fill="hold" grpId="1" nodeType="withEffect">
                                  <p:stCondLst>
                                    <p:cond delay="3500"/>
                                  </p:stCondLst>
                                  <p:childTnLst>
                                    <p:animEffect transition="out" filter="fade">
                                      <p:cBhvr>
                                        <p:cTn id="67" dur="2000"/>
                                        <p:tgtEl>
                                          <p:spTgt spid="10"/>
                                        </p:tgtEl>
                                      </p:cBhvr>
                                    </p:animEffect>
                                    <p:set>
                                      <p:cBhvr>
                                        <p:cTn id="68" dur="1" fill="hold">
                                          <p:stCondLst>
                                            <p:cond delay="1999"/>
                                          </p:stCondLst>
                                        </p:cTn>
                                        <p:tgtEl>
                                          <p:spTgt spid="10"/>
                                        </p:tgtEl>
                                        <p:attrNameLst>
                                          <p:attrName>style.visibility</p:attrName>
                                        </p:attrNameLst>
                                      </p:cBhvr>
                                      <p:to>
                                        <p:strVal val="hidden"/>
                                      </p:to>
                                    </p:set>
                                  </p:childTnLst>
                                </p:cTn>
                              </p:par>
                              <p:par>
                                <p:cTn id="69" presetID="10" presetClass="entr" presetSubtype="0" fill="hold" grpId="0" nodeType="withEffect">
                                  <p:stCondLst>
                                    <p:cond delay="4000"/>
                                  </p:stCondLst>
                                  <p:childTnLst>
                                    <p:set>
                                      <p:cBhvr>
                                        <p:cTn id="70" dur="1" fill="hold">
                                          <p:stCondLst>
                                            <p:cond delay="0"/>
                                          </p:stCondLst>
                                        </p:cTn>
                                        <p:tgtEl>
                                          <p:spTgt spid="33"/>
                                        </p:tgtEl>
                                        <p:attrNameLst>
                                          <p:attrName>style.visibility</p:attrName>
                                        </p:attrNameLst>
                                      </p:cBhvr>
                                      <p:to>
                                        <p:strVal val="visible"/>
                                      </p:to>
                                    </p:set>
                                    <p:animEffect transition="in" filter="fade">
                                      <p:cBhvr>
                                        <p:cTn id="71" dur="5000"/>
                                        <p:tgtEl>
                                          <p:spTgt spid="33"/>
                                        </p:tgtEl>
                                      </p:cBhvr>
                                    </p:animEffect>
                                  </p:childTnLst>
                                </p:cTn>
                              </p:par>
                              <p:par>
                                <p:cTn id="72" presetID="63" presetClass="path" presetSubtype="0" accel="50000" decel="50000" fill="hold" grpId="1" nodeType="withEffect">
                                  <p:stCondLst>
                                    <p:cond delay="4500"/>
                                  </p:stCondLst>
                                  <p:childTnLst>
                                    <p:animMotion origin="layout" path="M 2.70833E-6 1.11111E-6 L 0.33385 -0.01158 " pathEditMode="relative" rAng="0" ptsTypes="AA">
                                      <p:cBhvr>
                                        <p:cTn id="73" dur="5000" fill="hold"/>
                                        <p:tgtEl>
                                          <p:spTgt spid="33"/>
                                        </p:tgtEl>
                                        <p:attrNameLst>
                                          <p:attrName>ppt_x</p:attrName>
                                          <p:attrName>ppt_y</p:attrName>
                                        </p:attrNameLst>
                                      </p:cBhvr>
                                      <p:rCtr x="16693" y="-579"/>
                                    </p:animMotion>
                                  </p:childTnLst>
                                </p:cTn>
                              </p:par>
                              <p:par>
                                <p:cTn id="74" presetID="22" presetClass="entr" presetSubtype="1" repeatCount="indefinite" fill="hold" grpId="0" nodeType="withEffect">
                                  <p:stCondLst>
                                    <p:cond delay="0"/>
                                  </p:stCondLst>
                                  <p:childTnLst>
                                    <p:set>
                                      <p:cBhvr>
                                        <p:cTn id="75" dur="1" fill="hold">
                                          <p:stCondLst>
                                            <p:cond delay="0"/>
                                          </p:stCondLst>
                                        </p:cTn>
                                        <p:tgtEl>
                                          <p:spTgt spid="6"/>
                                        </p:tgtEl>
                                        <p:attrNameLst>
                                          <p:attrName>style.visibility</p:attrName>
                                        </p:attrNameLst>
                                      </p:cBhvr>
                                      <p:to>
                                        <p:strVal val="visible"/>
                                      </p:to>
                                    </p:set>
                                    <p:animEffect transition="in" filter="wipe(up)">
                                      <p:cBhvr>
                                        <p:cTn id="76"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10" grpId="1" animBg="1"/>
      <p:bldP spid="10" grpId="2" animBg="1"/>
      <p:bldP spid="11" grpId="0" animBg="1"/>
      <p:bldP spid="11" grpId="1" animBg="1"/>
      <p:bldP spid="15" grpId="0" animBg="1"/>
      <p:bldP spid="17" grpId="0" animBg="1"/>
      <p:bldP spid="19" grpId="0" animBg="1"/>
      <p:bldP spid="21" grpId="0" animBg="1"/>
      <p:bldP spid="23" grpId="0" animBg="1"/>
      <p:bldP spid="25" grpId="0" animBg="1"/>
      <p:bldP spid="27" grpId="0" animBg="1"/>
      <p:bldP spid="30" grpId="0" animBg="1"/>
      <p:bldP spid="32" grpId="0" animBg="1"/>
      <p:bldP spid="33" grpId="0" animBg="1"/>
      <p:bldP spid="33" grpId="1" animBg="1"/>
      <p:bldP spid="35" grpId="0" animBg="1"/>
      <p:bldP spid="37" grpId="0" animBg="1"/>
      <p:bldP spid="40" grpId="0" animBg="1"/>
      <p:bldP spid="43" grpId="0" animBg="1"/>
      <p:bldP spid="46" grpId="0" animBg="1"/>
      <p:bldP spid="60" grpId="0" animBg="1"/>
      <p:bldP spid="62" grpId="0" animBg="1"/>
      <p:bldP spid="65" grpId="0" animBg="1"/>
      <p:bldP spid="67" grpId="0" animBg="1"/>
      <p:bldP spid="70" grpId="0" animBg="1"/>
      <p:bldP spid="72" grpId="0" animBg="1"/>
      <p:bldP spid="75" grpId="0" animBg="1"/>
      <p:bldP spid="77" grpId="0" animBg="1"/>
      <p:bldP spid="79" grpId="0" animBg="1"/>
      <p:bldP spid="8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Laminated glass</a:t>
            </a:r>
            <a:endParaRPr lang="en-IN" dirty="0"/>
          </a:p>
        </p:txBody>
      </p:sp>
      <p:sp>
        <p:nvSpPr>
          <p:cNvPr id="3" name="Content Placeholder 2"/>
          <p:cNvSpPr>
            <a:spLocks noGrp="1"/>
          </p:cNvSpPr>
          <p:nvPr>
            <p:ph idx="1"/>
          </p:nvPr>
        </p:nvSpPr>
        <p:spPr>
          <a:xfrm>
            <a:off x="1808923" y="1628775"/>
            <a:ext cx="8196442" cy="1038225"/>
          </a:xfrm>
        </p:spPr>
        <p:txBody>
          <a:bodyPr/>
          <a:lstStyle/>
          <a:p>
            <a:pPr marL="0" indent="0">
              <a:buNone/>
            </a:pPr>
            <a:r>
              <a:rPr lang="en-IN" b="1" dirty="0">
                <a:solidFill>
                  <a:srgbClr val="0070C0"/>
                </a:solidFill>
              </a:rPr>
              <a:t>Laminated glass is a sandwich of two sheets of glass bonded </a:t>
            </a:r>
            <a:r>
              <a:rPr lang="en-IN" b="1" dirty="0" smtClean="0">
                <a:solidFill>
                  <a:srgbClr val="0070C0"/>
                </a:solidFill>
              </a:rPr>
              <a:t>together with </a:t>
            </a:r>
            <a:r>
              <a:rPr lang="en-IN" b="1" dirty="0">
                <a:solidFill>
                  <a:srgbClr val="0070C0"/>
                </a:solidFill>
              </a:rPr>
              <a:t>one or more special plastic interlayer like </a:t>
            </a:r>
            <a:r>
              <a:rPr lang="en-IN" b="1" dirty="0" smtClean="0">
                <a:solidFill>
                  <a:srgbClr val="0070C0"/>
                </a:solidFill>
              </a:rPr>
              <a:t>Poly-Vinyl-</a:t>
            </a:r>
            <a:r>
              <a:rPr lang="en-IN" b="1" dirty="0" err="1">
                <a:solidFill>
                  <a:srgbClr val="0070C0"/>
                </a:solidFill>
              </a:rPr>
              <a:t>B</a:t>
            </a:r>
            <a:r>
              <a:rPr lang="en-IN" b="1" dirty="0" err="1" smtClean="0">
                <a:solidFill>
                  <a:srgbClr val="0070C0"/>
                </a:solidFill>
              </a:rPr>
              <a:t>utryl</a:t>
            </a:r>
            <a:r>
              <a:rPr lang="en-IN" b="1" dirty="0" smtClean="0">
                <a:solidFill>
                  <a:srgbClr val="0070C0"/>
                </a:solidFill>
              </a:rPr>
              <a:t> </a:t>
            </a:r>
            <a:r>
              <a:rPr lang="en-IN" b="1" dirty="0">
                <a:solidFill>
                  <a:srgbClr val="0070C0"/>
                </a:solidFill>
              </a:rPr>
              <a:t>(</a:t>
            </a:r>
            <a:r>
              <a:rPr lang="en-IN" b="1" dirty="0" smtClean="0">
                <a:solidFill>
                  <a:srgbClr val="0070C0"/>
                </a:solidFill>
              </a:rPr>
              <a:t>PVB) in </a:t>
            </a:r>
            <a:r>
              <a:rPr lang="en-IN" b="1" dirty="0">
                <a:solidFill>
                  <a:srgbClr val="0070C0"/>
                </a:solidFill>
              </a:rPr>
              <a:t>between, under heat and pressure to form a single piece</a:t>
            </a:r>
          </a:p>
        </p:txBody>
      </p:sp>
      <p:sp>
        <p:nvSpPr>
          <p:cNvPr id="5" name="Slide Number Placeholder 4"/>
          <p:cNvSpPr>
            <a:spLocks noGrp="1"/>
          </p:cNvSpPr>
          <p:nvPr>
            <p:ph type="sldNum" sz="quarter" idx="12"/>
          </p:nvPr>
        </p:nvSpPr>
        <p:spPr/>
        <p:txBody>
          <a:bodyPr/>
          <a:lstStyle/>
          <a:p>
            <a:fld id="{919B753E-A5E7-4674-ACC8-1711CA16ACCF}" type="slidenum">
              <a:rPr lang="en-IN" smtClean="0"/>
              <a:t>11</a:t>
            </a:fld>
            <a:endParaRPr lang="en-IN"/>
          </a:p>
        </p:txBody>
      </p:sp>
      <p:sp>
        <p:nvSpPr>
          <p:cNvPr id="6" name="Content Placeholder 2"/>
          <p:cNvSpPr txBox="1">
            <a:spLocks/>
          </p:cNvSpPr>
          <p:nvPr/>
        </p:nvSpPr>
        <p:spPr>
          <a:xfrm>
            <a:off x="1808922" y="2846387"/>
            <a:ext cx="9695690" cy="3462338"/>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marL="0" indent="0">
              <a:buNone/>
            </a:pPr>
            <a:r>
              <a:rPr lang="en-IN" sz="2000" b="1" u="sng" dirty="0"/>
              <a:t>Benefits of Laminated Windshield</a:t>
            </a:r>
          </a:p>
          <a:p>
            <a:pPr>
              <a:buFont typeface="+mj-lt"/>
              <a:buAutoNum type="arabicPeriod"/>
            </a:pPr>
            <a:r>
              <a:rPr lang="en-IN" b="1" dirty="0"/>
              <a:t>Safety and Security </a:t>
            </a:r>
            <a:r>
              <a:rPr lang="en-IN" dirty="0"/>
              <a:t>: Laminated </a:t>
            </a:r>
            <a:r>
              <a:rPr lang="en-IN" dirty="0" smtClean="0"/>
              <a:t>glass</a:t>
            </a:r>
            <a:br>
              <a:rPr lang="en-IN" dirty="0" smtClean="0"/>
            </a:br>
            <a:r>
              <a:rPr lang="en-IN" dirty="0" smtClean="0"/>
              <a:t>cracks</a:t>
            </a:r>
            <a:r>
              <a:rPr lang="en-IN" dirty="0"/>
              <a:t> </a:t>
            </a:r>
            <a:r>
              <a:rPr lang="en-IN" dirty="0" smtClean="0"/>
              <a:t>under impact</a:t>
            </a:r>
            <a:r>
              <a:rPr lang="en-IN" dirty="0"/>
              <a:t>, but </a:t>
            </a:r>
            <a:r>
              <a:rPr lang="en-IN" dirty="0" smtClean="0"/>
              <a:t>typically</a:t>
            </a:r>
            <a:br>
              <a:rPr lang="en-IN" dirty="0" smtClean="0"/>
            </a:br>
            <a:r>
              <a:rPr lang="en-IN" dirty="0" smtClean="0"/>
              <a:t>remains integral, unlike annealed glass</a:t>
            </a:r>
            <a:br>
              <a:rPr lang="en-IN" dirty="0" smtClean="0"/>
            </a:br>
            <a:r>
              <a:rPr lang="en-IN" dirty="0" smtClean="0"/>
              <a:t>which typically produces long</a:t>
            </a:r>
            <a:br>
              <a:rPr lang="en-IN" dirty="0" smtClean="0"/>
            </a:br>
            <a:r>
              <a:rPr lang="en-IN" dirty="0" smtClean="0"/>
              <a:t>sharp-edged </a:t>
            </a:r>
            <a:r>
              <a:rPr lang="en-IN" dirty="0"/>
              <a:t>splinters </a:t>
            </a:r>
            <a:r>
              <a:rPr lang="en-IN" dirty="0" smtClean="0"/>
              <a:t>on breakage</a:t>
            </a:r>
          </a:p>
          <a:p>
            <a:pPr>
              <a:buFont typeface="+mj-lt"/>
              <a:buAutoNum type="arabicPeriod"/>
            </a:pPr>
            <a:endParaRPr lang="en-IN" dirty="0" smtClean="0"/>
          </a:p>
          <a:p>
            <a:pPr>
              <a:buFont typeface="+mj-lt"/>
              <a:buAutoNum type="arabicPeriod"/>
            </a:pPr>
            <a:r>
              <a:rPr lang="en-IN" b="1" dirty="0" smtClean="0"/>
              <a:t>Acoustic </a:t>
            </a:r>
            <a:r>
              <a:rPr lang="en-IN" b="1" dirty="0"/>
              <a:t>Control </a:t>
            </a:r>
            <a:r>
              <a:rPr lang="en-IN" dirty="0"/>
              <a:t>: Highly effective in noise reduction</a:t>
            </a:r>
          </a:p>
          <a:p>
            <a:pPr>
              <a:buFont typeface="+mj-lt"/>
              <a:buAutoNum type="arabicPeriod"/>
            </a:pPr>
            <a:r>
              <a:rPr lang="en-IN" b="1" dirty="0"/>
              <a:t>UV Rays Blockade </a:t>
            </a:r>
            <a:r>
              <a:rPr lang="en-IN" dirty="0"/>
              <a:t>: Prevents deterioration in the appearance of interior trims by blocking UV rays</a:t>
            </a:r>
          </a:p>
        </p:txBody>
      </p:sp>
      <p:pic>
        <p:nvPicPr>
          <p:cNvPr id="7" name="Picture 6"/>
          <p:cNvPicPr>
            <a:picLocks noChangeAspect="1"/>
          </p:cNvPicPr>
          <p:nvPr/>
        </p:nvPicPr>
        <p:blipFill>
          <a:blip r:embed="rId2"/>
          <a:stretch>
            <a:fillRect/>
          </a:stretch>
        </p:blipFill>
        <p:spPr>
          <a:xfrm>
            <a:off x="10005364" y="1004314"/>
            <a:ext cx="2000631" cy="1662686"/>
          </a:xfrm>
          <a:prstGeom prst="rect">
            <a:avLst/>
          </a:prstGeom>
        </p:spPr>
      </p:pic>
      <p:pic>
        <p:nvPicPr>
          <p:cNvPr id="10" name="Picture 9"/>
          <p:cNvPicPr>
            <a:picLocks noChangeAspect="1"/>
          </p:cNvPicPr>
          <p:nvPr/>
        </p:nvPicPr>
        <p:blipFill>
          <a:blip r:embed="rId3"/>
          <a:stretch>
            <a:fillRect/>
          </a:stretch>
        </p:blipFill>
        <p:spPr>
          <a:xfrm>
            <a:off x="6781832" y="3092814"/>
            <a:ext cx="2450646" cy="1524932"/>
          </a:xfrm>
          <a:prstGeom prst="rect">
            <a:avLst/>
          </a:prstGeom>
        </p:spPr>
      </p:pic>
      <p:pic>
        <p:nvPicPr>
          <p:cNvPr id="11" name="Picture 10"/>
          <p:cNvPicPr>
            <a:picLocks noChangeAspect="1"/>
          </p:cNvPicPr>
          <p:nvPr/>
        </p:nvPicPr>
        <p:blipFill>
          <a:blip r:embed="rId4"/>
          <a:stretch>
            <a:fillRect/>
          </a:stretch>
        </p:blipFill>
        <p:spPr>
          <a:xfrm>
            <a:off x="9417275" y="3092814"/>
            <a:ext cx="2273981" cy="1541682"/>
          </a:xfrm>
          <a:prstGeom prst="rect">
            <a:avLst/>
          </a:prstGeom>
        </p:spPr>
      </p:pic>
      <p:sp>
        <p:nvSpPr>
          <p:cNvPr id="12" name="TextBox 11"/>
          <p:cNvSpPr txBox="1"/>
          <p:nvPr/>
        </p:nvSpPr>
        <p:spPr>
          <a:xfrm>
            <a:off x="6781832" y="4643808"/>
            <a:ext cx="2450646" cy="276999"/>
          </a:xfrm>
          <a:prstGeom prst="rect">
            <a:avLst/>
          </a:prstGeom>
          <a:noFill/>
        </p:spPr>
        <p:txBody>
          <a:bodyPr wrap="square" rtlCol="0">
            <a:spAutoFit/>
          </a:bodyPr>
          <a:lstStyle/>
          <a:p>
            <a:pPr algn="ctr"/>
            <a:r>
              <a:rPr lang="en-IN" sz="1200" b="1" dirty="0" smtClean="0">
                <a:solidFill>
                  <a:srgbClr val="0070C0"/>
                </a:solidFill>
              </a:rPr>
              <a:t>Breakage of Laminated Glass</a:t>
            </a:r>
            <a:endParaRPr lang="en-IN" sz="1200" b="1" dirty="0">
              <a:solidFill>
                <a:srgbClr val="0070C0"/>
              </a:solidFill>
            </a:endParaRPr>
          </a:p>
        </p:txBody>
      </p:sp>
      <p:sp>
        <p:nvSpPr>
          <p:cNvPr id="13" name="TextBox 12"/>
          <p:cNvSpPr txBox="1"/>
          <p:nvPr/>
        </p:nvSpPr>
        <p:spPr>
          <a:xfrm>
            <a:off x="9328942" y="4643807"/>
            <a:ext cx="2450646" cy="276999"/>
          </a:xfrm>
          <a:prstGeom prst="rect">
            <a:avLst/>
          </a:prstGeom>
          <a:noFill/>
        </p:spPr>
        <p:txBody>
          <a:bodyPr wrap="square" rtlCol="0">
            <a:spAutoFit/>
          </a:bodyPr>
          <a:lstStyle/>
          <a:p>
            <a:pPr algn="ctr"/>
            <a:r>
              <a:rPr lang="en-IN" sz="1200" b="1" dirty="0" smtClean="0">
                <a:solidFill>
                  <a:srgbClr val="0070C0"/>
                </a:solidFill>
              </a:rPr>
              <a:t>Breakage of Normal Glass</a:t>
            </a:r>
            <a:endParaRPr lang="en-IN" sz="1200" b="1" dirty="0">
              <a:solidFill>
                <a:srgbClr val="0070C0"/>
              </a:solidFill>
            </a:endParaRPr>
          </a:p>
        </p:txBody>
      </p:sp>
    </p:spTree>
    <p:extLst>
      <p:ext uri="{BB962C8B-B14F-4D97-AF65-F5344CB8AC3E}">
        <p14:creationId xmlns:p14="http://schemas.microsoft.com/office/powerpoint/2010/main" val="6409349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2" name="Object 2" hidden="1"/>
          <p:cNvGraphicFramePr>
            <a:graphicFrameLocks noChangeAspect="1"/>
          </p:cNvGraphicFramePr>
          <p:nvPr>
            <p:custDataLst>
              <p:tags r:id="rId2"/>
            </p:custDataLs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3114" name="think-cell Slide" r:id="rId51" imgW="270" imgH="270" progId="TCLayout.ActiveDocument.1">
                  <p:embed/>
                </p:oleObj>
              </mc:Choice>
              <mc:Fallback>
                <p:oleObj name="think-cell Slide" r:id="rId51" imgW="270" imgH="270" progId="TCLayout.ActiveDocument.1">
                  <p:embed/>
                  <p:pic>
                    <p:nvPicPr>
                      <p:cNvPr id="10242" name="Object 2" hidden="1"/>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3" name="AutoShape 3"/>
          <p:cNvSpPr>
            <a:spLocks noChangeArrowheads="1"/>
          </p:cNvSpPr>
          <p:nvPr>
            <p:custDataLst>
              <p:tags r:id="rId3"/>
            </p:custDataLst>
          </p:nvPr>
        </p:nvSpPr>
        <p:spPr bwMode="auto">
          <a:xfrm rot="10800000" flipV="1">
            <a:off x="1430079" y="2960947"/>
            <a:ext cx="2930142" cy="324036"/>
          </a:xfrm>
          <a:prstGeom prst="chevron">
            <a:avLst>
              <a:gd name="adj" fmla="val 24855"/>
            </a:avLst>
          </a:prstGeom>
          <a:solidFill>
            <a:srgbClr val="002060"/>
          </a:solidFill>
          <a:ln>
            <a:noFill/>
          </a:ln>
          <a:effectLst>
            <a:softEdge rad="12700"/>
          </a:effectLst>
          <a:scene3d>
            <a:camera prst="orthographicFront">
              <a:rot lat="0" lon="0" rev="0"/>
            </a:camera>
            <a:lightRig rig="contrasting" dir="t">
              <a:rot lat="0" lon="0" rev="7800000"/>
            </a:lightRig>
          </a:scene3d>
          <a:sp3d>
            <a:bevelT w="139700" h="139700"/>
          </a:sp3d>
        </p:spPr>
        <p:txBody>
          <a:bodyPr anchor="ctr"/>
          <a:lstStyle/>
          <a:p>
            <a:pPr algn="ctr" eaLnBrk="0" hangingPunct="0">
              <a:buFont typeface="Webdings" pitchFamily="18" charset="2"/>
              <a:buNone/>
            </a:pPr>
            <a:r>
              <a:rPr lang="de-DE" altLang="en-US" sz="1400" dirty="0" err="1">
                <a:solidFill>
                  <a:schemeClr val="bg1"/>
                </a:solidFill>
              </a:rPr>
              <a:t>Laying</a:t>
            </a:r>
            <a:r>
              <a:rPr lang="de-DE" altLang="en-US" sz="1400" dirty="0">
                <a:solidFill>
                  <a:schemeClr val="bg1"/>
                </a:solidFill>
              </a:rPr>
              <a:t> PVB </a:t>
            </a:r>
            <a:r>
              <a:rPr lang="de-DE" altLang="en-US" sz="1400" dirty="0" err="1">
                <a:solidFill>
                  <a:schemeClr val="bg1"/>
                </a:solidFill>
              </a:rPr>
              <a:t>sheet</a:t>
            </a:r>
            <a:r>
              <a:rPr lang="de-DE" altLang="en-US" sz="1400" dirty="0">
                <a:solidFill>
                  <a:schemeClr val="bg1"/>
                </a:solidFill>
              </a:rPr>
              <a:t> &amp; </a:t>
            </a:r>
            <a:r>
              <a:rPr lang="de-DE" altLang="en-US" sz="1400" dirty="0" err="1">
                <a:solidFill>
                  <a:schemeClr val="bg1"/>
                </a:solidFill>
              </a:rPr>
              <a:t>Trimming</a:t>
            </a:r>
            <a:endParaRPr lang="de-DE" altLang="en-US" sz="1400" dirty="0">
              <a:solidFill>
                <a:schemeClr val="bg1"/>
              </a:solidFill>
            </a:endParaRPr>
          </a:p>
        </p:txBody>
      </p:sp>
      <p:sp>
        <p:nvSpPr>
          <p:cNvPr id="66" name="Rectangle 19"/>
          <p:cNvSpPr>
            <a:spLocks noChangeArrowheads="1"/>
          </p:cNvSpPr>
          <p:nvPr>
            <p:custDataLst>
              <p:tags r:id="rId4"/>
            </p:custDataLst>
          </p:nvPr>
        </p:nvSpPr>
        <p:spPr bwMode="auto">
          <a:xfrm>
            <a:off x="5208999" y="3425826"/>
            <a:ext cx="2306637" cy="1185863"/>
          </a:xfrm>
          <a:prstGeom prst="rect">
            <a:avLst/>
          </a:prstGeom>
          <a:gradFill>
            <a:gsLst>
              <a:gs pos="0">
                <a:schemeClr val="tx2">
                  <a:lumMod val="60000"/>
                  <a:lumOff val="40000"/>
                </a:schemeClr>
              </a:gs>
              <a:gs pos="8000">
                <a:srgbClr val="66008F"/>
              </a:gs>
              <a:gs pos="21000">
                <a:srgbClr val="BA0066"/>
              </a:gs>
              <a:gs pos="56000">
                <a:srgbClr val="FF0000"/>
              </a:gs>
              <a:gs pos="75000">
                <a:srgbClr val="FF8200"/>
              </a:gs>
            </a:gsLst>
            <a:lin ang="16200000" scaled="0"/>
          </a:gradFill>
          <a:ln w="12700" algn="ctr">
            <a:noFill/>
            <a:round/>
            <a:headEnd type="none" w="sm" len="sm"/>
            <a:tailEnd type="none" w="sm" len="sm"/>
          </a:ln>
          <a:effectLst/>
        </p:spPr>
        <p:txBody>
          <a:bodyPr/>
          <a:lstStyle>
            <a:lvl1pPr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eaLnBrk="1" hangingPunct="1">
              <a:defRPr/>
            </a:pPr>
            <a:endParaRPr lang="en-US" altLang="en-US" dirty="0"/>
          </a:p>
        </p:txBody>
      </p:sp>
      <p:sp>
        <p:nvSpPr>
          <p:cNvPr id="7207" name="Rectangle 49"/>
          <p:cNvSpPr>
            <a:spLocks noChangeArrowheads="1"/>
          </p:cNvSpPr>
          <p:nvPr>
            <p:custDataLst>
              <p:tags r:id="rId5"/>
            </p:custDataLst>
          </p:nvPr>
        </p:nvSpPr>
        <p:spPr bwMode="auto">
          <a:xfrm>
            <a:off x="5208999" y="3417889"/>
            <a:ext cx="2306637" cy="1195387"/>
          </a:xfrm>
          <a:prstGeom prst="rect">
            <a:avLst/>
          </a:prstGeom>
          <a:solidFill>
            <a:schemeClr val="bg1"/>
          </a:solidFill>
          <a:ln w="12700" algn="ctr">
            <a:solidFill>
              <a:schemeClr val="tx1"/>
            </a:solidFill>
            <a:round/>
            <a:headEnd type="none" w="sm" len="sm"/>
            <a:tailEnd type="none" w="sm" len="sm"/>
          </a:ln>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pPr>
            <a:endParaRPr lang="en-US" altLang="en-US" sz="1800"/>
          </a:p>
        </p:txBody>
      </p:sp>
      <p:sp>
        <p:nvSpPr>
          <p:cNvPr id="3" name="Rounded Rectangle 2"/>
          <p:cNvSpPr/>
          <p:nvPr>
            <p:custDataLst>
              <p:tags r:id="rId6"/>
            </p:custDataLst>
          </p:nvPr>
        </p:nvSpPr>
        <p:spPr bwMode="auto">
          <a:xfrm>
            <a:off x="1814699" y="1762126"/>
            <a:ext cx="2012950" cy="993775"/>
          </a:xfrm>
          <a:prstGeom prst="round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8900000" scaled="1"/>
            <a:tileRect/>
          </a:gradFill>
          <a:ln w="12700" cap="flat" cmpd="sng" algn="ctr">
            <a:solidFill>
              <a:schemeClr val="tx1"/>
            </a:solidFill>
            <a:prstDash val="solid"/>
            <a:round/>
            <a:headEnd type="none" w="sm" len="sm"/>
            <a:tailEnd type="none" w="sm" len="sm"/>
          </a:ln>
          <a:effectLst/>
          <a:extLst/>
        </p:spPr>
        <p:txBody>
          <a:bodyPr/>
          <a:lstStyle/>
          <a:p>
            <a:pPr>
              <a:defRPr/>
            </a:pPr>
            <a:endParaRPr lang="en-US"/>
          </a:p>
        </p:txBody>
      </p:sp>
      <p:sp>
        <p:nvSpPr>
          <p:cNvPr id="10245" name="Title 1"/>
          <p:cNvSpPr>
            <a:spLocks noGrp="1"/>
          </p:cNvSpPr>
          <p:nvPr>
            <p:ph type="title"/>
            <p:custDataLst>
              <p:tags r:id="rId7"/>
            </p:custDataLst>
          </p:nvPr>
        </p:nvSpPr>
        <p:spPr/>
        <p:txBody>
          <a:bodyPr>
            <a:normAutofit fontScale="90000"/>
          </a:bodyPr>
          <a:lstStyle/>
          <a:p>
            <a:r>
              <a:rPr lang="en-US" altLang="en-US" b="1" dirty="0" smtClean="0"/>
              <a:t>Laminated Glass - Windshield </a:t>
            </a:r>
            <a:r>
              <a:rPr lang="en-US" altLang="en-US" b="1" dirty="0"/>
              <a:t>M</a:t>
            </a:r>
            <a:r>
              <a:rPr lang="en-US" altLang="en-US" b="1" dirty="0" smtClean="0"/>
              <a:t>anufacturing </a:t>
            </a:r>
          </a:p>
        </p:txBody>
      </p:sp>
      <p:sp>
        <p:nvSpPr>
          <p:cNvPr id="8" name="Oval 7"/>
          <p:cNvSpPr/>
          <p:nvPr>
            <p:custDataLst>
              <p:tags r:id="rId8"/>
            </p:custDataLst>
          </p:nvPr>
        </p:nvSpPr>
        <p:spPr bwMode="auto">
          <a:xfrm>
            <a:off x="6898433" y="2741614"/>
            <a:ext cx="190500" cy="206375"/>
          </a:xfrm>
          <a:prstGeom prst="ellipse">
            <a:avLst/>
          </a:prstGeom>
          <a:solidFill>
            <a:schemeClr val="tx2">
              <a:lumMod val="75000"/>
            </a:schemeClr>
          </a:solidFill>
          <a:ln w="12700" cap="flat" cmpd="sng" algn="ctr">
            <a:solidFill>
              <a:schemeClr val="tx1"/>
            </a:solidFill>
            <a:prstDash val="solid"/>
            <a:round/>
            <a:headEnd type="none" w="sm" len="sm"/>
            <a:tailEnd type="none" w="sm" len="sm"/>
          </a:ln>
          <a:effectLst/>
          <a:extLst/>
        </p:spPr>
        <p:txBody>
          <a:bodyPr/>
          <a:lstStyle/>
          <a:p>
            <a:pPr>
              <a:defRPr/>
            </a:pPr>
            <a:endParaRPr lang="en-US"/>
          </a:p>
        </p:txBody>
      </p:sp>
      <p:sp>
        <p:nvSpPr>
          <p:cNvPr id="13" name="Freeform 12"/>
          <p:cNvSpPr>
            <a:spLocks/>
          </p:cNvSpPr>
          <p:nvPr>
            <p:custDataLst>
              <p:tags r:id="rId9"/>
            </p:custDataLst>
          </p:nvPr>
        </p:nvSpPr>
        <p:spPr bwMode="auto">
          <a:xfrm>
            <a:off x="9131422" y="1731963"/>
            <a:ext cx="657225" cy="550862"/>
          </a:xfrm>
          <a:custGeom>
            <a:avLst/>
            <a:gdLst>
              <a:gd name="T0" fmla="*/ 0 w 657225"/>
              <a:gd name="T1" fmla="*/ 544151 h 385763"/>
              <a:gd name="T2" fmla="*/ 314325 w 657225"/>
              <a:gd name="T3" fmla="*/ 0 h 385763"/>
              <a:gd name="T4" fmla="*/ 361950 w 657225"/>
              <a:gd name="T5" fmla="*/ 6803 h 385763"/>
              <a:gd name="T6" fmla="*/ 657225 w 657225"/>
              <a:gd name="T7" fmla="*/ 550954 h 385763"/>
              <a:gd name="T8" fmla="*/ 0 w 657225"/>
              <a:gd name="T9" fmla="*/ 544151 h 38576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7225" h="385763">
                <a:moveTo>
                  <a:pt x="0" y="381000"/>
                </a:moveTo>
                <a:lnTo>
                  <a:pt x="314325" y="0"/>
                </a:lnTo>
                <a:lnTo>
                  <a:pt x="361950" y="4763"/>
                </a:lnTo>
                <a:lnTo>
                  <a:pt x="657225" y="385763"/>
                </a:lnTo>
                <a:lnTo>
                  <a:pt x="0" y="381000"/>
                </a:lnTo>
                <a:close/>
              </a:path>
            </a:pathLst>
          </a:custGeom>
          <a:gradFill rotWithShape="1">
            <a:gsLst>
              <a:gs pos="12000">
                <a:srgbClr val="00B0F0"/>
              </a:gs>
              <a:gs pos="36000">
                <a:srgbClr val="21D6E0"/>
              </a:gs>
              <a:gs pos="90000">
                <a:srgbClr val="0087E6">
                  <a:lumMod val="41000"/>
                  <a:lumOff val="59000"/>
                </a:srgbClr>
              </a:gs>
              <a:gs pos="100000">
                <a:srgbClr val="005CBF"/>
              </a:gs>
            </a:gsLst>
            <a:lin ang="5400000" scaled="0"/>
          </a:gradFill>
          <a:ln>
            <a:noFill/>
          </a:ln>
        </p:spPr>
        <p:txBody>
          <a:bodyPr/>
          <a:lstStyle/>
          <a:p>
            <a:endParaRPr lang="en-US"/>
          </a:p>
        </p:txBody>
      </p:sp>
      <p:sp>
        <p:nvSpPr>
          <p:cNvPr id="29" name="Freeform 28"/>
          <p:cNvSpPr>
            <a:spLocks/>
          </p:cNvSpPr>
          <p:nvPr>
            <p:custDataLst>
              <p:tags r:id="rId10"/>
            </p:custDataLst>
          </p:nvPr>
        </p:nvSpPr>
        <p:spPr bwMode="auto">
          <a:xfrm>
            <a:off x="9755309" y="1731963"/>
            <a:ext cx="657225" cy="550862"/>
          </a:xfrm>
          <a:custGeom>
            <a:avLst/>
            <a:gdLst>
              <a:gd name="T0" fmla="*/ 0 w 657225"/>
              <a:gd name="T1" fmla="*/ 544151 h 385763"/>
              <a:gd name="T2" fmla="*/ 314325 w 657225"/>
              <a:gd name="T3" fmla="*/ 0 h 385763"/>
              <a:gd name="T4" fmla="*/ 361950 w 657225"/>
              <a:gd name="T5" fmla="*/ 6803 h 385763"/>
              <a:gd name="T6" fmla="*/ 657225 w 657225"/>
              <a:gd name="T7" fmla="*/ 550954 h 385763"/>
              <a:gd name="T8" fmla="*/ 0 w 657225"/>
              <a:gd name="T9" fmla="*/ 544151 h 38576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7225" h="385763">
                <a:moveTo>
                  <a:pt x="0" y="381000"/>
                </a:moveTo>
                <a:lnTo>
                  <a:pt x="314325" y="0"/>
                </a:lnTo>
                <a:lnTo>
                  <a:pt x="361950" y="4763"/>
                </a:lnTo>
                <a:lnTo>
                  <a:pt x="657225" y="385763"/>
                </a:lnTo>
                <a:lnTo>
                  <a:pt x="0" y="381000"/>
                </a:lnTo>
                <a:close/>
              </a:path>
            </a:pathLst>
          </a:custGeom>
          <a:gradFill rotWithShape="1">
            <a:gsLst>
              <a:gs pos="12000">
                <a:srgbClr val="00B0F0"/>
              </a:gs>
              <a:gs pos="36000">
                <a:srgbClr val="21D6E0"/>
              </a:gs>
              <a:gs pos="90000">
                <a:srgbClr val="0087E6">
                  <a:lumMod val="41000"/>
                  <a:lumOff val="59000"/>
                </a:srgbClr>
              </a:gs>
              <a:gs pos="100000">
                <a:srgbClr val="005CBF"/>
              </a:gs>
            </a:gsLst>
            <a:lin ang="5400000" scaled="0"/>
          </a:gradFill>
          <a:ln>
            <a:noFill/>
          </a:ln>
        </p:spPr>
        <p:txBody>
          <a:bodyPr/>
          <a:lstStyle/>
          <a:p>
            <a:endParaRPr lang="en-US"/>
          </a:p>
        </p:txBody>
      </p:sp>
      <p:grpSp>
        <p:nvGrpSpPr>
          <p:cNvPr id="7" name="Group 6"/>
          <p:cNvGrpSpPr/>
          <p:nvPr>
            <p:custDataLst>
              <p:tags r:id="rId11"/>
            </p:custDataLst>
          </p:nvPr>
        </p:nvGrpSpPr>
        <p:grpSpPr>
          <a:xfrm>
            <a:off x="9063158" y="1600015"/>
            <a:ext cx="2014538" cy="134938"/>
            <a:chOff x="6499225" y="1676215"/>
            <a:chExt cx="2014538" cy="134938"/>
          </a:xfrm>
          <a:solidFill>
            <a:schemeClr val="tx2">
              <a:lumMod val="60000"/>
              <a:lumOff val="40000"/>
            </a:schemeClr>
          </a:solidFill>
        </p:grpSpPr>
        <p:sp>
          <p:nvSpPr>
            <p:cNvPr id="7182" name="Rectangle 9"/>
            <p:cNvSpPr>
              <a:spLocks noChangeArrowheads="1"/>
            </p:cNvSpPr>
            <p:nvPr/>
          </p:nvSpPr>
          <p:spPr bwMode="auto">
            <a:xfrm>
              <a:off x="6499225" y="1676215"/>
              <a:ext cx="2014538" cy="88900"/>
            </a:xfrm>
            <a:prstGeom prst="rect">
              <a:avLst/>
            </a:prstGeom>
            <a:grpFill/>
            <a:ln w="12700" algn="ctr">
              <a:solidFill>
                <a:schemeClr val="tx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defRPr/>
              </a:pPr>
              <a:endParaRPr lang="en-US" altLang="en-US" sz="1800"/>
            </a:p>
          </p:txBody>
        </p:sp>
        <p:sp>
          <p:nvSpPr>
            <p:cNvPr id="7183" name="Rectangle 10"/>
            <p:cNvSpPr>
              <a:spLocks noChangeArrowheads="1"/>
            </p:cNvSpPr>
            <p:nvPr/>
          </p:nvSpPr>
          <p:spPr bwMode="auto">
            <a:xfrm>
              <a:off x="6877050" y="1765115"/>
              <a:ext cx="46038" cy="46038"/>
            </a:xfrm>
            <a:prstGeom prst="rect">
              <a:avLst/>
            </a:prstGeom>
            <a:grpFill/>
            <a:ln w="12700" algn="ctr">
              <a:solidFill>
                <a:schemeClr val="tx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defRPr/>
              </a:pPr>
              <a:endParaRPr lang="en-US" altLang="en-US" sz="1800"/>
            </a:p>
          </p:txBody>
        </p:sp>
        <p:sp>
          <p:nvSpPr>
            <p:cNvPr id="7185" name="Rectangle 27"/>
            <p:cNvSpPr>
              <a:spLocks noChangeArrowheads="1"/>
            </p:cNvSpPr>
            <p:nvPr/>
          </p:nvSpPr>
          <p:spPr bwMode="auto">
            <a:xfrm>
              <a:off x="7500938" y="1765115"/>
              <a:ext cx="46037" cy="46038"/>
            </a:xfrm>
            <a:prstGeom prst="rect">
              <a:avLst/>
            </a:prstGeom>
            <a:grpFill/>
            <a:ln w="12700" algn="ctr">
              <a:solidFill>
                <a:schemeClr val="tx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defRPr/>
              </a:pPr>
              <a:endParaRPr lang="en-US" altLang="en-US" sz="1800"/>
            </a:p>
          </p:txBody>
        </p:sp>
        <p:sp>
          <p:nvSpPr>
            <p:cNvPr id="7187" name="Rectangle 29"/>
            <p:cNvSpPr>
              <a:spLocks noChangeArrowheads="1"/>
            </p:cNvSpPr>
            <p:nvPr/>
          </p:nvSpPr>
          <p:spPr bwMode="auto">
            <a:xfrm>
              <a:off x="8129588" y="1765115"/>
              <a:ext cx="46037" cy="46038"/>
            </a:xfrm>
            <a:prstGeom prst="rect">
              <a:avLst/>
            </a:prstGeom>
            <a:grpFill/>
            <a:ln w="12700" algn="ctr">
              <a:solidFill>
                <a:schemeClr val="tx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defRPr/>
              </a:pPr>
              <a:endParaRPr lang="en-US" altLang="en-US" sz="1800"/>
            </a:p>
          </p:txBody>
        </p:sp>
      </p:grpSp>
      <p:sp>
        <p:nvSpPr>
          <p:cNvPr id="31" name="Freeform 30"/>
          <p:cNvSpPr>
            <a:spLocks/>
          </p:cNvSpPr>
          <p:nvPr>
            <p:custDataLst>
              <p:tags r:id="rId12"/>
            </p:custDataLst>
          </p:nvPr>
        </p:nvSpPr>
        <p:spPr bwMode="auto">
          <a:xfrm>
            <a:off x="10383959" y="1731963"/>
            <a:ext cx="657225" cy="550862"/>
          </a:xfrm>
          <a:custGeom>
            <a:avLst/>
            <a:gdLst>
              <a:gd name="T0" fmla="*/ 0 w 657225"/>
              <a:gd name="T1" fmla="*/ 544151 h 385763"/>
              <a:gd name="T2" fmla="*/ 314325 w 657225"/>
              <a:gd name="T3" fmla="*/ 0 h 385763"/>
              <a:gd name="T4" fmla="*/ 361950 w 657225"/>
              <a:gd name="T5" fmla="*/ 6803 h 385763"/>
              <a:gd name="T6" fmla="*/ 657225 w 657225"/>
              <a:gd name="T7" fmla="*/ 550954 h 385763"/>
              <a:gd name="T8" fmla="*/ 0 w 657225"/>
              <a:gd name="T9" fmla="*/ 544151 h 38576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7225" h="385763">
                <a:moveTo>
                  <a:pt x="0" y="381000"/>
                </a:moveTo>
                <a:lnTo>
                  <a:pt x="314325" y="0"/>
                </a:lnTo>
                <a:lnTo>
                  <a:pt x="361950" y="4763"/>
                </a:lnTo>
                <a:lnTo>
                  <a:pt x="657225" y="385763"/>
                </a:lnTo>
                <a:lnTo>
                  <a:pt x="0" y="381000"/>
                </a:lnTo>
                <a:close/>
              </a:path>
            </a:pathLst>
          </a:custGeom>
          <a:gradFill rotWithShape="1">
            <a:gsLst>
              <a:gs pos="12000">
                <a:srgbClr val="00B0F0"/>
              </a:gs>
              <a:gs pos="36000">
                <a:srgbClr val="21D6E0"/>
              </a:gs>
              <a:gs pos="90000">
                <a:srgbClr val="0087E6">
                  <a:lumMod val="41000"/>
                  <a:lumOff val="59000"/>
                </a:srgbClr>
              </a:gs>
              <a:gs pos="100000">
                <a:srgbClr val="005CBF"/>
              </a:gs>
            </a:gsLst>
            <a:lin ang="5400000" scaled="0"/>
          </a:gradFill>
          <a:ln>
            <a:noFill/>
          </a:ln>
        </p:spPr>
        <p:txBody>
          <a:bodyPr/>
          <a:lstStyle/>
          <a:p>
            <a:endParaRPr lang="en-US"/>
          </a:p>
        </p:txBody>
      </p:sp>
      <p:sp>
        <p:nvSpPr>
          <p:cNvPr id="34" name="Freeform 33"/>
          <p:cNvSpPr>
            <a:spLocks/>
          </p:cNvSpPr>
          <p:nvPr>
            <p:custDataLst>
              <p:tags r:id="rId13"/>
            </p:custDataLst>
          </p:nvPr>
        </p:nvSpPr>
        <p:spPr bwMode="auto">
          <a:xfrm rot="10800000">
            <a:off x="9145709" y="2238375"/>
            <a:ext cx="657225" cy="546100"/>
          </a:xfrm>
          <a:custGeom>
            <a:avLst/>
            <a:gdLst>
              <a:gd name="T0" fmla="*/ 0 w 657225"/>
              <a:gd name="T1" fmla="*/ 539175 h 385763"/>
              <a:gd name="T2" fmla="*/ 314325 w 657225"/>
              <a:gd name="T3" fmla="*/ 0 h 385763"/>
              <a:gd name="T4" fmla="*/ 361950 w 657225"/>
              <a:gd name="T5" fmla="*/ 6740 h 385763"/>
              <a:gd name="T6" fmla="*/ 657225 w 657225"/>
              <a:gd name="T7" fmla="*/ 545915 h 385763"/>
              <a:gd name="T8" fmla="*/ 0 w 657225"/>
              <a:gd name="T9" fmla="*/ 539175 h 38576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7225" h="385763">
                <a:moveTo>
                  <a:pt x="0" y="381000"/>
                </a:moveTo>
                <a:lnTo>
                  <a:pt x="314325" y="0"/>
                </a:lnTo>
                <a:lnTo>
                  <a:pt x="361950" y="4763"/>
                </a:lnTo>
                <a:lnTo>
                  <a:pt x="657225" y="385763"/>
                </a:lnTo>
                <a:lnTo>
                  <a:pt x="0" y="381000"/>
                </a:lnTo>
                <a:close/>
              </a:path>
            </a:pathLst>
          </a:custGeom>
          <a:gradFill rotWithShape="1">
            <a:gsLst>
              <a:gs pos="12000">
                <a:srgbClr val="00B0F0"/>
              </a:gs>
              <a:gs pos="36000">
                <a:srgbClr val="21D6E0"/>
              </a:gs>
              <a:gs pos="90000">
                <a:srgbClr val="0087E6">
                  <a:lumMod val="41000"/>
                  <a:lumOff val="59000"/>
                </a:srgbClr>
              </a:gs>
              <a:gs pos="100000">
                <a:srgbClr val="005CBF"/>
              </a:gs>
            </a:gsLst>
            <a:lin ang="5400000" scaled="0"/>
          </a:gradFill>
          <a:ln>
            <a:noFill/>
          </a:ln>
        </p:spPr>
        <p:txBody>
          <a:bodyPr/>
          <a:lstStyle/>
          <a:p>
            <a:endParaRPr lang="en-US"/>
          </a:p>
        </p:txBody>
      </p:sp>
      <p:sp>
        <p:nvSpPr>
          <p:cNvPr id="36" name="Freeform 35"/>
          <p:cNvSpPr>
            <a:spLocks/>
          </p:cNvSpPr>
          <p:nvPr>
            <p:custDataLst>
              <p:tags r:id="rId14"/>
            </p:custDataLst>
          </p:nvPr>
        </p:nvSpPr>
        <p:spPr bwMode="auto">
          <a:xfrm rot="10800000">
            <a:off x="9769597" y="2238375"/>
            <a:ext cx="657225" cy="546100"/>
          </a:xfrm>
          <a:custGeom>
            <a:avLst/>
            <a:gdLst>
              <a:gd name="T0" fmla="*/ 0 w 657225"/>
              <a:gd name="T1" fmla="*/ 539175 h 385763"/>
              <a:gd name="T2" fmla="*/ 314325 w 657225"/>
              <a:gd name="T3" fmla="*/ 0 h 385763"/>
              <a:gd name="T4" fmla="*/ 361950 w 657225"/>
              <a:gd name="T5" fmla="*/ 6740 h 385763"/>
              <a:gd name="T6" fmla="*/ 657225 w 657225"/>
              <a:gd name="T7" fmla="*/ 545915 h 385763"/>
              <a:gd name="T8" fmla="*/ 0 w 657225"/>
              <a:gd name="T9" fmla="*/ 539175 h 38576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7225" h="385763">
                <a:moveTo>
                  <a:pt x="0" y="381000"/>
                </a:moveTo>
                <a:lnTo>
                  <a:pt x="314325" y="0"/>
                </a:lnTo>
                <a:lnTo>
                  <a:pt x="361950" y="4763"/>
                </a:lnTo>
                <a:lnTo>
                  <a:pt x="657225" y="385763"/>
                </a:lnTo>
                <a:lnTo>
                  <a:pt x="0" y="381000"/>
                </a:lnTo>
                <a:close/>
              </a:path>
            </a:pathLst>
          </a:custGeom>
          <a:gradFill rotWithShape="1">
            <a:gsLst>
              <a:gs pos="12000">
                <a:srgbClr val="00B0F0"/>
              </a:gs>
              <a:gs pos="36000">
                <a:srgbClr val="21D6E0"/>
              </a:gs>
              <a:gs pos="90000">
                <a:srgbClr val="0087E6">
                  <a:lumMod val="41000"/>
                  <a:lumOff val="59000"/>
                </a:srgbClr>
              </a:gs>
              <a:gs pos="100000">
                <a:srgbClr val="005CBF"/>
              </a:gs>
            </a:gsLst>
            <a:lin ang="5400000" scaled="0"/>
          </a:gradFill>
          <a:ln>
            <a:noFill/>
          </a:ln>
        </p:spPr>
        <p:txBody>
          <a:bodyPr/>
          <a:lstStyle/>
          <a:p>
            <a:endParaRPr lang="en-US"/>
          </a:p>
        </p:txBody>
      </p:sp>
      <p:grpSp>
        <p:nvGrpSpPr>
          <p:cNvPr id="6" name="Group 5"/>
          <p:cNvGrpSpPr/>
          <p:nvPr>
            <p:custDataLst>
              <p:tags r:id="rId15"/>
            </p:custDataLst>
          </p:nvPr>
        </p:nvGrpSpPr>
        <p:grpSpPr>
          <a:xfrm>
            <a:off x="9048872" y="2774766"/>
            <a:ext cx="2014537" cy="138113"/>
            <a:chOff x="6484938" y="2622365"/>
            <a:chExt cx="2014537" cy="138113"/>
          </a:xfrm>
          <a:solidFill>
            <a:schemeClr val="tx2">
              <a:lumMod val="60000"/>
              <a:lumOff val="40000"/>
            </a:schemeClr>
          </a:solidFill>
        </p:grpSpPr>
        <p:sp>
          <p:nvSpPr>
            <p:cNvPr id="7189" name="Rectangle 31"/>
            <p:cNvSpPr>
              <a:spLocks noChangeArrowheads="1"/>
            </p:cNvSpPr>
            <p:nvPr/>
          </p:nvSpPr>
          <p:spPr bwMode="auto">
            <a:xfrm rot="10800000">
              <a:off x="6484938" y="2671578"/>
              <a:ext cx="2014537" cy="88900"/>
            </a:xfrm>
            <a:prstGeom prst="rect">
              <a:avLst/>
            </a:prstGeom>
            <a:grpFill/>
            <a:ln w="12700" algn="ctr">
              <a:solidFill>
                <a:schemeClr val="tx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defRPr/>
              </a:pPr>
              <a:endParaRPr lang="en-US" altLang="en-US" sz="1800"/>
            </a:p>
          </p:txBody>
        </p:sp>
        <p:sp>
          <p:nvSpPr>
            <p:cNvPr id="7190" name="Rectangle 32"/>
            <p:cNvSpPr>
              <a:spLocks noChangeArrowheads="1"/>
            </p:cNvSpPr>
            <p:nvPr/>
          </p:nvSpPr>
          <p:spPr bwMode="auto">
            <a:xfrm rot="10800000">
              <a:off x="6877050" y="2622365"/>
              <a:ext cx="46038" cy="46038"/>
            </a:xfrm>
            <a:prstGeom prst="rect">
              <a:avLst/>
            </a:prstGeom>
            <a:grpFill/>
            <a:ln w="12700" algn="ctr">
              <a:solidFill>
                <a:schemeClr val="tx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defRPr/>
              </a:pPr>
              <a:endParaRPr lang="en-US" altLang="en-US" sz="1800"/>
            </a:p>
          </p:txBody>
        </p:sp>
        <p:sp>
          <p:nvSpPr>
            <p:cNvPr id="7192" name="Rectangle 34"/>
            <p:cNvSpPr>
              <a:spLocks noChangeArrowheads="1"/>
            </p:cNvSpPr>
            <p:nvPr/>
          </p:nvSpPr>
          <p:spPr bwMode="auto">
            <a:xfrm rot="10800000">
              <a:off x="7500938" y="2622365"/>
              <a:ext cx="46037" cy="46038"/>
            </a:xfrm>
            <a:prstGeom prst="rect">
              <a:avLst/>
            </a:prstGeom>
            <a:grpFill/>
            <a:ln w="12700" algn="ctr">
              <a:solidFill>
                <a:schemeClr val="tx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defRPr/>
              </a:pPr>
              <a:endParaRPr lang="en-US" altLang="en-US" sz="1800"/>
            </a:p>
          </p:txBody>
        </p:sp>
        <p:sp>
          <p:nvSpPr>
            <p:cNvPr id="7194" name="Rectangle 36"/>
            <p:cNvSpPr>
              <a:spLocks noChangeArrowheads="1"/>
            </p:cNvSpPr>
            <p:nvPr/>
          </p:nvSpPr>
          <p:spPr bwMode="auto">
            <a:xfrm rot="10800000">
              <a:off x="8129588" y="2622365"/>
              <a:ext cx="46037" cy="46038"/>
            </a:xfrm>
            <a:prstGeom prst="rect">
              <a:avLst/>
            </a:prstGeom>
            <a:grpFill/>
            <a:ln w="12700" algn="ctr">
              <a:solidFill>
                <a:schemeClr val="tx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defRPr/>
              </a:pPr>
              <a:endParaRPr lang="en-US" altLang="en-US" sz="1800"/>
            </a:p>
          </p:txBody>
        </p:sp>
      </p:grpSp>
      <p:sp>
        <p:nvSpPr>
          <p:cNvPr id="38" name="Freeform 37"/>
          <p:cNvSpPr>
            <a:spLocks/>
          </p:cNvSpPr>
          <p:nvPr>
            <p:custDataLst>
              <p:tags r:id="rId16"/>
            </p:custDataLst>
          </p:nvPr>
        </p:nvSpPr>
        <p:spPr bwMode="auto">
          <a:xfrm rot="10800000">
            <a:off x="10398247" y="2238375"/>
            <a:ext cx="657225" cy="546100"/>
          </a:xfrm>
          <a:custGeom>
            <a:avLst/>
            <a:gdLst>
              <a:gd name="T0" fmla="*/ 0 w 657225"/>
              <a:gd name="T1" fmla="*/ 539175 h 385763"/>
              <a:gd name="T2" fmla="*/ 314325 w 657225"/>
              <a:gd name="T3" fmla="*/ 0 h 385763"/>
              <a:gd name="T4" fmla="*/ 361950 w 657225"/>
              <a:gd name="T5" fmla="*/ 6740 h 385763"/>
              <a:gd name="T6" fmla="*/ 657225 w 657225"/>
              <a:gd name="T7" fmla="*/ 545915 h 385763"/>
              <a:gd name="T8" fmla="*/ 0 w 657225"/>
              <a:gd name="T9" fmla="*/ 539175 h 38576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7225" h="385763">
                <a:moveTo>
                  <a:pt x="0" y="381000"/>
                </a:moveTo>
                <a:lnTo>
                  <a:pt x="314325" y="0"/>
                </a:lnTo>
                <a:lnTo>
                  <a:pt x="361950" y="4763"/>
                </a:lnTo>
                <a:lnTo>
                  <a:pt x="657225" y="385763"/>
                </a:lnTo>
                <a:lnTo>
                  <a:pt x="0" y="381000"/>
                </a:lnTo>
                <a:close/>
              </a:path>
            </a:pathLst>
          </a:custGeom>
          <a:gradFill rotWithShape="1">
            <a:gsLst>
              <a:gs pos="12000">
                <a:srgbClr val="00B0F0"/>
              </a:gs>
              <a:gs pos="36000">
                <a:srgbClr val="21D6E0"/>
              </a:gs>
              <a:gs pos="90000">
                <a:srgbClr val="0087E6">
                  <a:lumMod val="41000"/>
                  <a:lumOff val="59000"/>
                </a:srgbClr>
              </a:gs>
              <a:gs pos="100000">
                <a:srgbClr val="005CBF"/>
              </a:gs>
            </a:gsLst>
            <a:lin ang="5400000" scaled="0"/>
          </a:gradFill>
          <a:ln>
            <a:noFill/>
          </a:ln>
        </p:spPr>
        <p:txBody>
          <a:bodyPr/>
          <a:lstStyle/>
          <a:p>
            <a:endParaRPr lang="en-US"/>
          </a:p>
        </p:txBody>
      </p:sp>
      <p:grpSp>
        <p:nvGrpSpPr>
          <p:cNvPr id="2" name="Group 1"/>
          <p:cNvGrpSpPr>
            <a:grpSpLocks/>
          </p:cNvGrpSpPr>
          <p:nvPr>
            <p:custDataLst>
              <p:tags r:id="rId17"/>
            </p:custDataLst>
          </p:nvPr>
        </p:nvGrpSpPr>
        <p:grpSpPr bwMode="auto">
          <a:xfrm>
            <a:off x="5328395" y="3894139"/>
            <a:ext cx="2033588" cy="301625"/>
            <a:chOff x="6467475" y="3893344"/>
            <a:chExt cx="2033588" cy="302480"/>
          </a:xfrm>
        </p:grpSpPr>
        <p:sp>
          <p:nvSpPr>
            <p:cNvPr id="10288" name="Freeform 16"/>
            <p:cNvSpPr>
              <a:spLocks/>
            </p:cNvSpPr>
            <p:nvPr/>
          </p:nvSpPr>
          <p:spPr bwMode="auto">
            <a:xfrm>
              <a:off x="6467475" y="3914775"/>
              <a:ext cx="2033588" cy="281049"/>
            </a:xfrm>
            <a:custGeom>
              <a:avLst/>
              <a:gdLst>
                <a:gd name="T0" fmla="*/ 0 w 2033588"/>
                <a:gd name="T1" fmla="*/ 0 h 281049"/>
                <a:gd name="T2" fmla="*/ 261938 w 2033588"/>
                <a:gd name="T3" fmla="*/ 223838 h 281049"/>
                <a:gd name="T4" fmla="*/ 985838 w 2033588"/>
                <a:gd name="T5" fmla="*/ 280988 h 281049"/>
                <a:gd name="T6" fmla="*/ 1733550 w 2033588"/>
                <a:gd name="T7" fmla="*/ 228600 h 281049"/>
                <a:gd name="T8" fmla="*/ 2033588 w 2033588"/>
                <a:gd name="T9" fmla="*/ 0 h 281049"/>
                <a:gd name="T10" fmla="*/ 2033588 w 2033588"/>
                <a:gd name="T11" fmla="*/ 0 h 2810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33588" h="281049">
                  <a:moveTo>
                    <a:pt x="0" y="0"/>
                  </a:moveTo>
                  <a:cubicBezTo>
                    <a:pt x="84138" y="74613"/>
                    <a:pt x="99219" y="177007"/>
                    <a:pt x="261938" y="223838"/>
                  </a:cubicBezTo>
                  <a:cubicBezTo>
                    <a:pt x="424657" y="270669"/>
                    <a:pt x="740569" y="280194"/>
                    <a:pt x="985838" y="280988"/>
                  </a:cubicBezTo>
                  <a:cubicBezTo>
                    <a:pt x="1231107" y="281782"/>
                    <a:pt x="1558925" y="275431"/>
                    <a:pt x="1733550" y="228600"/>
                  </a:cubicBezTo>
                  <a:cubicBezTo>
                    <a:pt x="1908175" y="181769"/>
                    <a:pt x="1983582" y="38100"/>
                    <a:pt x="2033588" y="0"/>
                  </a:cubicBezTo>
                </a:path>
              </a:pathLst>
            </a:custGeom>
            <a:noFill/>
            <a:ln w="28575" cap="flat" cmpd="sng" algn="ctr">
              <a:solidFill>
                <a:schemeClr val="tx1"/>
              </a:solidFill>
              <a:prstDash val="solid"/>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1" name="Freeform 50"/>
            <p:cNvSpPr/>
            <p:nvPr/>
          </p:nvSpPr>
          <p:spPr bwMode="auto">
            <a:xfrm>
              <a:off x="6486525" y="3893344"/>
              <a:ext cx="1997075" cy="278599"/>
            </a:xfrm>
            <a:custGeom>
              <a:avLst/>
              <a:gdLst>
                <a:gd name="connsiteX0" fmla="*/ 0 w 2024063"/>
                <a:gd name="connsiteY0" fmla="*/ 0 h 280988"/>
                <a:gd name="connsiteX1" fmla="*/ 252413 w 2024063"/>
                <a:gd name="connsiteY1" fmla="*/ 223838 h 280988"/>
                <a:gd name="connsiteX2" fmla="*/ 976313 w 2024063"/>
                <a:gd name="connsiteY2" fmla="*/ 280988 h 280988"/>
                <a:gd name="connsiteX3" fmla="*/ 1724025 w 2024063"/>
                <a:gd name="connsiteY3" fmla="*/ 228600 h 280988"/>
                <a:gd name="connsiteX4" fmla="*/ 2024063 w 2024063"/>
                <a:gd name="connsiteY4" fmla="*/ 0 h 280988"/>
                <a:gd name="connsiteX5" fmla="*/ 2024063 w 2024063"/>
                <a:gd name="connsiteY5" fmla="*/ 0 h 280988"/>
                <a:gd name="connsiteX0" fmla="*/ 0 w 2024063"/>
                <a:gd name="connsiteY0" fmla="*/ 0 h 280988"/>
                <a:gd name="connsiteX1" fmla="*/ 252413 w 2024063"/>
                <a:gd name="connsiteY1" fmla="*/ 223838 h 280988"/>
                <a:gd name="connsiteX2" fmla="*/ 976313 w 2024063"/>
                <a:gd name="connsiteY2" fmla="*/ 280988 h 280988"/>
                <a:gd name="connsiteX3" fmla="*/ 1724025 w 2024063"/>
                <a:gd name="connsiteY3" fmla="*/ 228600 h 280988"/>
                <a:gd name="connsiteX4" fmla="*/ 2024063 w 2024063"/>
                <a:gd name="connsiteY4" fmla="*/ 0 h 280988"/>
                <a:gd name="connsiteX5" fmla="*/ 2024063 w 2024063"/>
                <a:gd name="connsiteY5" fmla="*/ 0 h 280988"/>
                <a:gd name="connsiteX0" fmla="*/ 0 w 2024063"/>
                <a:gd name="connsiteY0" fmla="*/ 0 h 280988"/>
                <a:gd name="connsiteX1" fmla="*/ 252413 w 2024063"/>
                <a:gd name="connsiteY1" fmla="*/ 223838 h 280988"/>
                <a:gd name="connsiteX2" fmla="*/ 976313 w 2024063"/>
                <a:gd name="connsiteY2" fmla="*/ 280988 h 280988"/>
                <a:gd name="connsiteX3" fmla="*/ 1724025 w 2024063"/>
                <a:gd name="connsiteY3" fmla="*/ 228600 h 280988"/>
                <a:gd name="connsiteX4" fmla="*/ 2024063 w 2024063"/>
                <a:gd name="connsiteY4" fmla="*/ 0 h 280988"/>
                <a:gd name="connsiteX5" fmla="*/ 2024063 w 2024063"/>
                <a:gd name="connsiteY5" fmla="*/ 0 h 280988"/>
                <a:gd name="connsiteX0" fmla="*/ 0 w 2024063"/>
                <a:gd name="connsiteY0" fmla="*/ 0 h 281049"/>
                <a:gd name="connsiteX1" fmla="*/ 252413 w 2024063"/>
                <a:gd name="connsiteY1" fmla="*/ 223838 h 281049"/>
                <a:gd name="connsiteX2" fmla="*/ 976313 w 2024063"/>
                <a:gd name="connsiteY2" fmla="*/ 280988 h 281049"/>
                <a:gd name="connsiteX3" fmla="*/ 1724025 w 2024063"/>
                <a:gd name="connsiteY3" fmla="*/ 228600 h 281049"/>
                <a:gd name="connsiteX4" fmla="*/ 2024063 w 2024063"/>
                <a:gd name="connsiteY4" fmla="*/ 0 h 281049"/>
                <a:gd name="connsiteX5" fmla="*/ 2024063 w 2024063"/>
                <a:gd name="connsiteY5" fmla="*/ 0 h 281049"/>
                <a:gd name="connsiteX0" fmla="*/ 0 w 2024063"/>
                <a:gd name="connsiteY0" fmla="*/ 0 h 281049"/>
                <a:gd name="connsiteX1" fmla="*/ 252413 w 2024063"/>
                <a:gd name="connsiteY1" fmla="*/ 223838 h 281049"/>
                <a:gd name="connsiteX2" fmla="*/ 976313 w 2024063"/>
                <a:gd name="connsiteY2" fmla="*/ 280988 h 281049"/>
                <a:gd name="connsiteX3" fmla="*/ 1724025 w 2024063"/>
                <a:gd name="connsiteY3" fmla="*/ 228600 h 281049"/>
                <a:gd name="connsiteX4" fmla="*/ 2024063 w 2024063"/>
                <a:gd name="connsiteY4" fmla="*/ 0 h 281049"/>
                <a:gd name="connsiteX5" fmla="*/ 2024063 w 2024063"/>
                <a:gd name="connsiteY5" fmla="*/ 0 h 281049"/>
                <a:gd name="connsiteX0" fmla="*/ 0 w 2033588"/>
                <a:gd name="connsiteY0" fmla="*/ 0 h 281049"/>
                <a:gd name="connsiteX1" fmla="*/ 261938 w 2033588"/>
                <a:gd name="connsiteY1" fmla="*/ 223838 h 281049"/>
                <a:gd name="connsiteX2" fmla="*/ 985838 w 2033588"/>
                <a:gd name="connsiteY2" fmla="*/ 280988 h 281049"/>
                <a:gd name="connsiteX3" fmla="*/ 1733550 w 2033588"/>
                <a:gd name="connsiteY3" fmla="*/ 228600 h 281049"/>
                <a:gd name="connsiteX4" fmla="*/ 2033588 w 2033588"/>
                <a:gd name="connsiteY4" fmla="*/ 0 h 281049"/>
                <a:gd name="connsiteX5" fmla="*/ 2033588 w 2033588"/>
                <a:gd name="connsiteY5" fmla="*/ 0 h 281049"/>
                <a:gd name="connsiteX0" fmla="*/ 0 w 2033588"/>
                <a:gd name="connsiteY0" fmla="*/ 0 h 284163"/>
                <a:gd name="connsiteX1" fmla="*/ 271463 w 2033588"/>
                <a:gd name="connsiteY1" fmla="*/ 252413 h 284163"/>
                <a:gd name="connsiteX2" fmla="*/ 985838 w 2033588"/>
                <a:gd name="connsiteY2" fmla="*/ 280988 h 284163"/>
                <a:gd name="connsiteX3" fmla="*/ 1733550 w 2033588"/>
                <a:gd name="connsiteY3" fmla="*/ 228600 h 284163"/>
                <a:gd name="connsiteX4" fmla="*/ 2033588 w 2033588"/>
                <a:gd name="connsiteY4" fmla="*/ 0 h 284163"/>
                <a:gd name="connsiteX5" fmla="*/ 2033588 w 2033588"/>
                <a:gd name="connsiteY5" fmla="*/ 0 h 284163"/>
                <a:gd name="connsiteX0" fmla="*/ 0 w 2033588"/>
                <a:gd name="connsiteY0" fmla="*/ 0 h 282441"/>
                <a:gd name="connsiteX1" fmla="*/ 271463 w 2033588"/>
                <a:gd name="connsiteY1" fmla="*/ 247651 h 282441"/>
                <a:gd name="connsiteX2" fmla="*/ 985838 w 2033588"/>
                <a:gd name="connsiteY2" fmla="*/ 280988 h 282441"/>
                <a:gd name="connsiteX3" fmla="*/ 1733550 w 2033588"/>
                <a:gd name="connsiteY3" fmla="*/ 228600 h 282441"/>
                <a:gd name="connsiteX4" fmla="*/ 2033588 w 2033588"/>
                <a:gd name="connsiteY4" fmla="*/ 0 h 282441"/>
                <a:gd name="connsiteX5" fmla="*/ 2033588 w 2033588"/>
                <a:gd name="connsiteY5" fmla="*/ 0 h 282441"/>
                <a:gd name="connsiteX0" fmla="*/ 0 w 2033588"/>
                <a:gd name="connsiteY0" fmla="*/ 0 h 309576"/>
                <a:gd name="connsiteX1" fmla="*/ 271463 w 2033588"/>
                <a:gd name="connsiteY1" fmla="*/ 247651 h 309576"/>
                <a:gd name="connsiteX2" fmla="*/ 985838 w 2033588"/>
                <a:gd name="connsiteY2" fmla="*/ 309563 h 309576"/>
                <a:gd name="connsiteX3" fmla="*/ 1733550 w 2033588"/>
                <a:gd name="connsiteY3" fmla="*/ 228600 h 309576"/>
                <a:gd name="connsiteX4" fmla="*/ 2033588 w 2033588"/>
                <a:gd name="connsiteY4" fmla="*/ 0 h 309576"/>
                <a:gd name="connsiteX5" fmla="*/ 2033588 w 2033588"/>
                <a:gd name="connsiteY5" fmla="*/ 0 h 309576"/>
                <a:gd name="connsiteX0" fmla="*/ 0 w 2033588"/>
                <a:gd name="connsiteY0" fmla="*/ 0 h 309688"/>
                <a:gd name="connsiteX1" fmla="*/ 271463 w 2033588"/>
                <a:gd name="connsiteY1" fmla="*/ 247651 h 309688"/>
                <a:gd name="connsiteX2" fmla="*/ 985838 w 2033588"/>
                <a:gd name="connsiteY2" fmla="*/ 309563 h 309688"/>
                <a:gd name="connsiteX3" fmla="*/ 1738312 w 2033588"/>
                <a:gd name="connsiteY3" fmla="*/ 261937 h 309688"/>
                <a:gd name="connsiteX4" fmla="*/ 2033588 w 2033588"/>
                <a:gd name="connsiteY4" fmla="*/ 0 h 309688"/>
                <a:gd name="connsiteX5" fmla="*/ 2033588 w 2033588"/>
                <a:gd name="connsiteY5" fmla="*/ 0 h 309688"/>
                <a:gd name="connsiteX0" fmla="*/ 0 w 2033588"/>
                <a:gd name="connsiteY0" fmla="*/ 0 h 309591"/>
                <a:gd name="connsiteX1" fmla="*/ 271463 w 2033588"/>
                <a:gd name="connsiteY1" fmla="*/ 247651 h 309591"/>
                <a:gd name="connsiteX2" fmla="*/ 985838 w 2033588"/>
                <a:gd name="connsiteY2" fmla="*/ 309563 h 309591"/>
                <a:gd name="connsiteX3" fmla="*/ 1738312 w 2033588"/>
                <a:gd name="connsiteY3" fmla="*/ 247650 h 309591"/>
                <a:gd name="connsiteX4" fmla="*/ 2033588 w 2033588"/>
                <a:gd name="connsiteY4" fmla="*/ 0 h 309591"/>
                <a:gd name="connsiteX5" fmla="*/ 2033588 w 2033588"/>
                <a:gd name="connsiteY5" fmla="*/ 0 h 309591"/>
                <a:gd name="connsiteX0" fmla="*/ 0 w 2033588"/>
                <a:gd name="connsiteY0" fmla="*/ 0 h 309583"/>
                <a:gd name="connsiteX1" fmla="*/ 271463 w 2033588"/>
                <a:gd name="connsiteY1" fmla="*/ 247651 h 309583"/>
                <a:gd name="connsiteX2" fmla="*/ 985838 w 2033588"/>
                <a:gd name="connsiteY2" fmla="*/ 309563 h 309583"/>
                <a:gd name="connsiteX3" fmla="*/ 1738312 w 2033588"/>
                <a:gd name="connsiteY3" fmla="*/ 247650 h 309583"/>
                <a:gd name="connsiteX4" fmla="*/ 1981216 w 2033588"/>
                <a:gd name="connsiteY4" fmla="*/ 66697 h 309583"/>
                <a:gd name="connsiteX5" fmla="*/ 2033588 w 2033588"/>
                <a:gd name="connsiteY5" fmla="*/ 0 h 309583"/>
                <a:gd name="connsiteX6" fmla="*/ 2033588 w 2033588"/>
                <a:gd name="connsiteY6" fmla="*/ 0 h 309583"/>
                <a:gd name="connsiteX0" fmla="*/ 0 w 2037320"/>
                <a:gd name="connsiteY0" fmla="*/ 0 h 309583"/>
                <a:gd name="connsiteX1" fmla="*/ 271463 w 2037320"/>
                <a:gd name="connsiteY1" fmla="*/ 247651 h 309583"/>
                <a:gd name="connsiteX2" fmla="*/ 985838 w 2037320"/>
                <a:gd name="connsiteY2" fmla="*/ 309563 h 309583"/>
                <a:gd name="connsiteX3" fmla="*/ 1738312 w 2037320"/>
                <a:gd name="connsiteY3" fmla="*/ 247650 h 309583"/>
                <a:gd name="connsiteX4" fmla="*/ 2007410 w 2037320"/>
                <a:gd name="connsiteY4" fmla="*/ 38122 h 309583"/>
                <a:gd name="connsiteX5" fmla="*/ 2033588 w 2037320"/>
                <a:gd name="connsiteY5" fmla="*/ 0 h 309583"/>
                <a:gd name="connsiteX6" fmla="*/ 2033588 w 2037320"/>
                <a:gd name="connsiteY6" fmla="*/ 0 h 309583"/>
                <a:gd name="connsiteX0" fmla="*/ 0 w 2037320"/>
                <a:gd name="connsiteY0" fmla="*/ 0 h 309583"/>
                <a:gd name="connsiteX1" fmla="*/ 271463 w 2037320"/>
                <a:gd name="connsiteY1" fmla="*/ 247651 h 309583"/>
                <a:gd name="connsiteX2" fmla="*/ 985838 w 2037320"/>
                <a:gd name="connsiteY2" fmla="*/ 309563 h 309583"/>
                <a:gd name="connsiteX3" fmla="*/ 1738312 w 2037320"/>
                <a:gd name="connsiteY3" fmla="*/ 247650 h 309583"/>
                <a:gd name="connsiteX4" fmla="*/ 2007410 w 2037320"/>
                <a:gd name="connsiteY4" fmla="*/ 38122 h 309583"/>
                <a:gd name="connsiteX5" fmla="*/ 2033588 w 2037320"/>
                <a:gd name="connsiteY5" fmla="*/ 0 h 309583"/>
                <a:gd name="connsiteX0" fmla="*/ 0 w 2042810"/>
                <a:gd name="connsiteY0" fmla="*/ 0 h 309583"/>
                <a:gd name="connsiteX1" fmla="*/ 271463 w 2042810"/>
                <a:gd name="connsiteY1" fmla="*/ 247651 h 309583"/>
                <a:gd name="connsiteX2" fmla="*/ 985838 w 2042810"/>
                <a:gd name="connsiteY2" fmla="*/ 309563 h 309583"/>
                <a:gd name="connsiteX3" fmla="*/ 1738312 w 2042810"/>
                <a:gd name="connsiteY3" fmla="*/ 247650 h 309583"/>
                <a:gd name="connsiteX4" fmla="*/ 2016935 w 2042810"/>
                <a:gd name="connsiteY4" fmla="*/ 35740 h 309583"/>
                <a:gd name="connsiteX5" fmla="*/ 2033588 w 2042810"/>
                <a:gd name="connsiteY5" fmla="*/ 0 h 309583"/>
                <a:gd name="connsiteX0" fmla="*/ 0 w 2016935"/>
                <a:gd name="connsiteY0" fmla="*/ 0 h 309583"/>
                <a:gd name="connsiteX1" fmla="*/ 271463 w 2016935"/>
                <a:gd name="connsiteY1" fmla="*/ 247651 h 309583"/>
                <a:gd name="connsiteX2" fmla="*/ 985838 w 2016935"/>
                <a:gd name="connsiteY2" fmla="*/ 309563 h 309583"/>
                <a:gd name="connsiteX3" fmla="*/ 1738312 w 2016935"/>
                <a:gd name="connsiteY3" fmla="*/ 247650 h 309583"/>
                <a:gd name="connsiteX4" fmla="*/ 2016935 w 2016935"/>
                <a:gd name="connsiteY4" fmla="*/ 35740 h 309583"/>
                <a:gd name="connsiteX0" fmla="*/ 1012 w 2017947"/>
                <a:gd name="connsiteY0" fmla="*/ 2086 h 311669"/>
                <a:gd name="connsiteX1" fmla="*/ 29604 w 2017947"/>
                <a:gd name="connsiteY1" fmla="*/ 25920 h 311669"/>
                <a:gd name="connsiteX2" fmla="*/ 272475 w 2017947"/>
                <a:gd name="connsiteY2" fmla="*/ 249737 h 311669"/>
                <a:gd name="connsiteX3" fmla="*/ 986850 w 2017947"/>
                <a:gd name="connsiteY3" fmla="*/ 311649 h 311669"/>
                <a:gd name="connsiteX4" fmla="*/ 1739324 w 2017947"/>
                <a:gd name="connsiteY4" fmla="*/ 249736 h 311669"/>
                <a:gd name="connsiteX5" fmla="*/ 2017947 w 2017947"/>
                <a:gd name="connsiteY5" fmla="*/ 37826 h 311669"/>
                <a:gd name="connsiteX0" fmla="*/ 0 w 2016935"/>
                <a:gd name="connsiteY0" fmla="*/ 730 h 310313"/>
                <a:gd name="connsiteX1" fmla="*/ 7161 w 2016935"/>
                <a:gd name="connsiteY1" fmla="*/ 3133 h 310313"/>
                <a:gd name="connsiteX2" fmla="*/ 28592 w 2016935"/>
                <a:gd name="connsiteY2" fmla="*/ 24564 h 310313"/>
                <a:gd name="connsiteX3" fmla="*/ 271463 w 2016935"/>
                <a:gd name="connsiteY3" fmla="*/ 248381 h 310313"/>
                <a:gd name="connsiteX4" fmla="*/ 985838 w 2016935"/>
                <a:gd name="connsiteY4" fmla="*/ 310293 h 310313"/>
                <a:gd name="connsiteX5" fmla="*/ 1738312 w 2016935"/>
                <a:gd name="connsiteY5" fmla="*/ 248380 h 310313"/>
                <a:gd name="connsiteX6" fmla="*/ 2016935 w 2016935"/>
                <a:gd name="connsiteY6" fmla="*/ 36470 h 310313"/>
                <a:gd name="connsiteX0" fmla="*/ 0 w 2016935"/>
                <a:gd name="connsiteY0" fmla="*/ 730 h 310313"/>
                <a:gd name="connsiteX1" fmla="*/ 7161 w 2016935"/>
                <a:gd name="connsiteY1" fmla="*/ 3133 h 310313"/>
                <a:gd name="connsiteX2" fmla="*/ 28592 w 2016935"/>
                <a:gd name="connsiteY2" fmla="*/ 24564 h 310313"/>
                <a:gd name="connsiteX3" fmla="*/ 271463 w 2016935"/>
                <a:gd name="connsiteY3" fmla="*/ 248381 h 310313"/>
                <a:gd name="connsiteX4" fmla="*/ 985838 w 2016935"/>
                <a:gd name="connsiteY4" fmla="*/ 310293 h 310313"/>
                <a:gd name="connsiteX5" fmla="*/ 1738312 w 2016935"/>
                <a:gd name="connsiteY5" fmla="*/ 248380 h 310313"/>
                <a:gd name="connsiteX6" fmla="*/ 2016935 w 2016935"/>
                <a:gd name="connsiteY6" fmla="*/ 36470 h 310313"/>
                <a:gd name="connsiteX0" fmla="*/ 528 w 2017463"/>
                <a:gd name="connsiteY0" fmla="*/ 1704 h 311287"/>
                <a:gd name="connsiteX1" fmla="*/ 29120 w 2017463"/>
                <a:gd name="connsiteY1" fmla="*/ 25538 h 311287"/>
                <a:gd name="connsiteX2" fmla="*/ 271991 w 2017463"/>
                <a:gd name="connsiteY2" fmla="*/ 249355 h 311287"/>
                <a:gd name="connsiteX3" fmla="*/ 986366 w 2017463"/>
                <a:gd name="connsiteY3" fmla="*/ 311267 h 311287"/>
                <a:gd name="connsiteX4" fmla="*/ 1738840 w 2017463"/>
                <a:gd name="connsiteY4" fmla="*/ 249354 h 311287"/>
                <a:gd name="connsiteX5" fmla="*/ 2017463 w 2017463"/>
                <a:gd name="connsiteY5" fmla="*/ 37444 h 311287"/>
                <a:gd name="connsiteX0" fmla="*/ 0 w 1988343"/>
                <a:gd name="connsiteY0" fmla="*/ 0 h 285749"/>
                <a:gd name="connsiteX1" fmla="*/ 242871 w 1988343"/>
                <a:gd name="connsiteY1" fmla="*/ 223817 h 285749"/>
                <a:gd name="connsiteX2" fmla="*/ 957246 w 1988343"/>
                <a:gd name="connsiteY2" fmla="*/ 285729 h 285749"/>
                <a:gd name="connsiteX3" fmla="*/ 1709720 w 1988343"/>
                <a:gd name="connsiteY3" fmla="*/ 223816 h 285749"/>
                <a:gd name="connsiteX4" fmla="*/ 1988343 w 1988343"/>
                <a:gd name="connsiteY4" fmla="*/ 11906 h 285749"/>
                <a:gd name="connsiteX0" fmla="*/ 0 w 1997868"/>
                <a:gd name="connsiteY0" fmla="*/ 0 h 278606"/>
                <a:gd name="connsiteX1" fmla="*/ 252396 w 1997868"/>
                <a:gd name="connsiteY1" fmla="*/ 216674 h 278606"/>
                <a:gd name="connsiteX2" fmla="*/ 966771 w 1997868"/>
                <a:gd name="connsiteY2" fmla="*/ 278586 h 278606"/>
                <a:gd name="connsiteX3" fmla="*/ 1719245 w 1997868"/>
                <a:gd name="connsiteY3" fmla="*/ 216673 h 278606"/>
                <a:gd name="connsiteX4" fmla="*/ 1997868 w 1997868"/>
                <a:gd name="connsiteY4" fmla="*/ 4763 h 278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7868" h="278606">
                  <a:moveTo>
                    <a:pt x="0" y="0"/>
                  </a:moveTo>
                  <a:cubicBezTo>
                    <a:pt x="45244" y="41275"/>
                    <a:pt x="92855" y="169053"/>
                    <a:pt x="252396" y="216674"/>
                  </a:cubicBezTo>
                  <a:cubicBezTo>
                    <a:pt x="411937" y="264296"/>
                    <a:pt x="721502" y="277792"/>
                    <a:pt x="966771" y="278586"/>
                  </a:cubicBezTo>
                  <a:cubicBezTo>
                    <a:pt x="1212040" y="279380"/>
                    <a:pt x="1553349" y="257151"/>
                    <a:pt x="1719245" y="216673"/>
                  </a:cubicBezTo>
                  <a:cubicBezTo>
                    <a:pt x="1885141" y="176195"/>
                    <a:pt x="1948655" y="46038"/>
                    <a:pt x="1997868" y="4763"/>
                  </a:cubicBezTo>
                </a:path>
              </a:pathLst>
            </a:custGeom>
            <a:noFill/>
            <a:ln w="28575" cap="flat" cmpd="sng" algn="ctr">
              <a:solidFill>
                <a:schemeClr val="tx2">
                  <a:lumMod val="60000"/>
                  <a:lumOff val="40000"/>
                </a:schemeClr>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a:p>
          </p:txBody>
        </p:sp>
      </p:grpSp>
      <p:sp>
        <p:nvSpPr>
          <p:cNvPr id="7197" name="Rectangle 13"/>
          <p:cNvSpPr>
            <a:spLocks noChangeArrowheads="1"/>
          </p:cNvSpPr>
          <p:nvPr>
            <p:custDataLst>
              <p:tags r:id="rId18"/>
            </p:custDataLst>
          </p:nvPr>
        </p:nvSpPr>
        <p:spPr bwMode="auto">
          <a:xfrm>
            <a:off x="5376020" y="4010025"/>
            <a:ext cx="46038" cy="433388"/>
          </a:xfrm>
          <a:prstGeom prst="rect">
            <a:avLst/>
          </a:prstGeom>
          <a:solidFill>
            <a:schemeClr val="accent1">
              <a:lumMod val="90000"/>
            </a:schemeClr>
          </a:solidFill>
          <a:ln w="12700" algn="ctr">
            <a:solidFill>
              <a:schemeClr val="tx1"/>
            </a:solidFill>
            <a:round/>
            <a:headEnd type="none" w="sm" len="sm"/>
            <a:tailEnd type="none" w="sm" len="sm"/>
          </a:ln>
          <a:effec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pPr>
            <a:endParaRPr lang="en-US" altLang="en-US" sz="1800"/>
          </a:p>
        </p:txBody>
      </p:sp>
      <p:sp>
        <p:nvSpPr>
          <p:cNvPr id="7198" name="Rectangle 39"/>
          <p:cNvSpPr>
            <a:spLocks noChangeArrowheads="1"/>
          </p:cNvSpPr>
          <p:nvPr>
            <p:custDataLst>
              <p:tags r:id="rId19"/>
            </p:custDataLst>
          </p:nvPr>
        </p:nvSpPr>
        <p:spPr bwMode="auto">
          <a:xfrm>
            <a:off x="5585570" y="4162426"/>
            <a:ext cx="46038" cy="277813"/>
          </a:xfrm>
          <a:prstGeom prst="rect">
            <a:avLst/>
          </a:prstGeom>
          <a:solidFill>
            <a:schemeClr val="accent1">
              <a:lumMod val="90000"/>
            </a:schemeClr>
          </a:solidFill>
          <a:ln w="12700" algn="ctr">
            <a:solidFill>
              <a:schemeClr val="tx1"/>
            </a:solidFill>
            <a:round/>
            <a:headEnd type="none" w="sm" len="sm"/>
            <a:tailEnd type="none" w="sm" len="sm"/>
          </a:ln>
          <a:effec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pPr>
            <a:endParaRPr lang="en-US" altLang="en-US" sz="1800"/>
          </a:p>
        </p:txBody>
      </p:sp>
      <p:sp>
        <p:nvSpPr>
          <p:cNvPr id="7199" name="Rectangle 40"/>
          <p:cNvSpPr>
            <a:spLocks noChangeArrowheads="1"/>
          </p:cNvSpPr>
          <p:nvPr>
            <p:custDataLst>
              <p:tags r:id="rId20"/>
            </p:custDataLst>
          </p:nvPr>
        </p:nvSpPr>
        <p:spPr bwMode="auto">
          <a:xfrm>
            <a:off x="5912595" y="4187825"/>
            <a:ext cx="46038" cy="255588"/>
          </a:xfrm>
          <a:prstGeom prst="rect">
            <a:avLst/>
          </a:prstGeom>
          <a:solidFill>
            <a:schemeClr val="accent1">
              <a:lumMod val="90000"/>
            </a:schemeClr>
          </a:solidFill>
          <a:ln w="12700" algn="ctr">
            <a:solidFill>
              <a:schemeClr val="tx1"/>
            </a:solidFill>
            <a:round/>
            <a:headEnd type="none" w="sm" len="sm"/>
            <a:tailEnd type="none" w="sm" len="sm"/>
          </a:ln>
          <a:effec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pPr>
            <a:endParaRPr lang="en-US" altLang="en-US" sz="1800"/>
          </a:p>
        </p:txBody>
      </p:sp>
      <p:sp>
        <p:nvSpPr>
          <p:cNvPr id="7200" name="Rectangle 42"/>
          <p:cNvSpPr>
            <a:spLocks noChangeArrowheads="1"/>
          </p:cNvSpPr>
          <p:nvPr>
            <p:custDataLst>
              <p:tags r:id="rId21"/>
            </p:custDataLst>
          </p:nvPr>
        </p:nvSpPr>
        <p:spPr bwMode="auto">
          <a:xfrm>
            <a:off x="6285659" y="4195764"/>
            <a:ext cx="46037" cy="249237"/>
          </a:xfrm>
          <a:prstGeom prst="rect">
            <a:avLst/>
          </a:prstGeom>
          <a:solidFill>
            <a:schemeClr val="accent1">
              <a:lumMod val="90000"/>
            </a:schemeClr>
          </a:solidFill>
          <a:ln w="12700" algn="ctr">
            <a:solidFill>
              <a:schemeClr val="tx1"/>
            </a:solidFill>
            <a:round/>
            <a:headEnd type="none" w="sm" len="sm"/>
            <a:tailEnd type="none" w="sm" len="sm"/>
          </a:ln>
          <a:effec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pPr>
            <a:endParaRPr lang="en-US" altLang="en-US" sz="1800"/>
          </a:p>
        </p:txBody>
      </p:sp>
      <p:sp>
        <p:nvSpPr>
          <p:cNvPr id="7201" name="Rectangle 14"/>
          <p:cNvSpPr>
            <a:spLocks noChangeArrowheads="1"/>
          </p:cNvSpPr>
          <p:nvPr>
            <p:custDataLst>
              <p:tags r:id="rId22"/>
            </p:custDataLst>
          </p:nvPr>
        </p:nvSpPr>
        <p:spPr bwMode="auto">
          <a:xfrm>
            <a:off x="5336334" y="4443413"/>
            <a:ext cx="2028825" cy="95250"/>
          </a:xfrm>
          <a:prstGeom prst="rect">
            <a:avLst/>
          </a:prstGeom>
          <a:solidFill>
            <a:schemeClr val="accent1">
              <a:lumMod val="90000"/>
            </a:schemeClr>
          </a:solidFill>
          <a:ln w="12700" algn="ctr">
            <a:solidFill>
              <a:schemeClr val="tx1"/>
            </a:solidFill>
            <a:round/>
            <a:headEnd type="none" w="sm" len="sm"/>
            <a:tailEnd type="none" w="sm" len="sm"/>
          </a:ln>
          <a:effec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pPr>
            <a:endParaRPr lang="en-US" altLang="en-US" sz="1800"/>
          </a:p>
        </p:txBody>
      </p:sp>
      <p:sp>
        <p:nvSpPr>
          <p:cNvPr id="7202" name="Rectangle 44"/>
          <p:cNvSpPr>
            <a:spLocks noChangeArrowheads="1"/>
          </p:cNvSpPr>
          <p:nvPr>
            <p:custDataLst>
              <p:tags r:id="rId23"/>
            </p:custDataLst>
          </p:nvPr>
        </p:nvSpPr>
        <p:spPr bwMode="auto">
          <a:xfrm>
            <a:off x="6684120" y="4187825"/>
            <a:ext cx="46038" cy="255588"/>
          </a:xfrm>
          <a:prstGeom prst="rect">
            <a:avLst/>
          </a:prstGeom>
          <a:solidFill>
            <a:schemeClr val="accent1">
              <a:lumMod val="90000"/>
            </a:schemeClr>
          </a:solidFill>
          <a:ln w="12700" algn="ctr">
            <a:solidFill>
              <a:schemeClr val="tx1"/>
            </a:solidFill>
            <a:round/>
            <a:headEnd type="none" w="sm" len="sm"/>
            <a:tailEnd type="none" w="sm" len="sm"/>
          </a:ln>
          <a:effec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pPr>
            <a:endParaRPr lang="en-US" altLang="en-US" sz="1800"/>
          </a:p>
        </p:txBody>
      </p:sp>
      <p:sp>
        <p:nvSpPr>
          <p:cNvPr id="7203" name="Rectangle 45"/>
          <p:cNvSpPr>
            <a:spLocks noChangeArrowheads="1"/>
          </p:cNvSpPr>
          <p:nvPr>
            <p:custDataLst>
              <p:tags r:id="rId24"/>
            </p:custDataLst>
          </p:nvPr>
        </p:nvSpPr>
        <p:spPr bwMode="auto">
          <a:xfrm>
            <a:off x="7014320" y="4171951"/>
            <a:ext cx="46038" cy="277813"/>
          </a:xfrm>
          <a:prstGeom prst="rect">
            <a:avLst/>
          </a:prstGeom>
          <a:solidFill>
            <a:schemeClr val="accent1">
              <a:lumMod val="90000"/>
            </a:schemeClr>
          </a:solidFill>
          <a:ln w="12700" algn="ctr">
            <a:solidFill>
              <a:schemeClr val="tx1"/>
            </a:solidFill>
            <a:round/>
            <a:headEnd type="none" w="sm" len="sm"/>
            <a:tailEnd type="none" w="sm" len="sm"/>
          </a:ln>
          <a:effec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pPr>
            <a:endParaRPr lang="en-US" altLang="en-US" sz="1800"/>
          </a:p>
        </p:txBody>
      </p:sp>
      <p:sp>
        <p:nvSpPr>
          <p:cNvPr id="7204" name="Rectangle 46"/>
          <p:cNvSpPr>
            <a:spLocks noChangeArrowheads="1"/>
          </p:cNvSpPr>
          <p:nvPr>
            <p:custDataLst>
              <p:tags r:id="rId25"/>
            </p:custDataLst>
          </p:nvPr>
        </p:nvSpPr>
        <p:spPr bwMode="auto">
          <a:xfrm>
            <a:off x="7261970" y="4010025"/>
            <a:ext cx="46038" cy="433388"/>
          </a:xfrm>
          <a:prstGeom prst="rect">
            <a:avLst/>
          </a:prstGeom>
          <a:solidFill>
            <a:schemeClr val="accent1">
              <a:lumMod val="90000"/>
            </a:schemeClr>
          </a:solidFill>
          <a:ln w="12700" algn="ctr">
            <a:solidFill>
              <a:schemeClr val="tx1"/>
            </a:solidFill>
            <a:round/>
            <a:headEnd type="none" w="sm" len="sm"/>
            <a:tailEnd type="none" w="sm" len="sm"/>
          </a:ln>
          <a:effec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pPr>
            <a:endParaRPr lang="en-US" altLang="en-US" sz="1800"/>
          </a:p>
        </p:txBody>
      </p:sp>
      <p:cxnSp>
        <p:nvCxnSpPr>
          <p:cNvPr id="64" name="Straight Connector 63"/>
          <p:cNvCxnSpPr>
            <a:cxnSpLocks noChangeShapeType="1"/>
          </p:cNvCxnSpPr>
          <p:nvPr>
            <p:custDataLst>
              <p:tags r:id="rId26"/>
            </p:custDataLst>
          </p:nvPr>
        </p:nvCxnSpPr>
        <p:spPr bwMode="auto">
          <a:xfrm>
            <a:off x="5231559" y="4002088"/>
            <a:ext cx="2212975" cy="0"/>
          </a:xfrm>
          <a:prstGeom prst="line">
            <a:avLst/>
          </a:prstGeom>
          <a:noFill/>
          <a:ln w="28575" algn="ctr">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Straight Connector 64"/>
          <p:cNvCxnSpPr/>
          <p:nvPr>
            <p:custDataLst>
              <p:tags r:id="rId27"/>
            </p:custDataLst>
          </p:nvPr>
        </p:nvCxnSpPr>
        <p:spPr bwMode="auto">
          <a:xfrm>
            <a:off x="5231559" y="3973513"/>
            <a:ext cx="2212975" cy="0"/>
          </a:xfrm>
          <a:prstGeom prst="line">
            <a:avLst/>
          </a:prstGeom>
          <a:solidFill>
            <a:schemeClr val="bg1"/>
          </a:solidFill>
          <a:ln w="28575" cap="flat" cmpd="sng" algn="ctr">
            <a:solidFill>
              <a:schemeClr val="tx2">
                <a:lumMod val="60000"/>
                <a:lumOff val="40000"/>
              </a:schemeClr>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Rounded Rectangle 4"/>
          <p:cNvSpPr>
            <a:spLocks noChangeArrowheads="1"/>
          </p:cNvSpPr>
          <p:nvPr>
            <p:custDataLst>
              <p:tags r:id="rId28"/>
            </p:custDataLst>
          </p:nvPr>
        </p:nvSpPr>
        <p:spPr bwMode="auto">
          <a:xfrm>
            <a:off x="9072683" y="3502026"/>
            <a:ext cx="1974850" cy="950913"/>
          </a:xfrm>
          <a:prstGeom prst="roundRect">
            <a:avLst>
              <a:gd name="adj" fmla="val 16667"/>
            </a:avLst>
          </a:prstGeom>
          <a:noFill/>
          <a:ln w="47625" algn="ctr">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nchor="b"/>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algn="r" eaLnBrk="1" hangingPunct="1">
              <a:lnSpc>
                <a:spcPct val="100000"/>
              </a:lnSpc>
              <a:spcAft>
                <a:spcPct val="0"/>
              </a:spcAft>
            </a:pPr>
            <a:r>
              <a:rPr lang="en-US" altLang="en-US" sz="1000" i="1" dirty="0" smtClean="0">
                <a:latin typeface="Comic Sans MS" panose="030F0702030302020204" pitchFamily="66" charset="0"/>
              </a:rPr>
              <a:t>Deepak</a:t>
            </a:r>
          </a:p>
          <a:p>
            <a:pPr algn="r" eaLnBrk="1" hangingPunct="1">
              <a:lnSpc>
                <a:spcPct val="100000"/>
              </a:lnSpc>
              <a:spcAft>
                <a:spcPct val="0"/>
              </a:spcAft>
            </a:pPr>
            <a:r>
              <a:rPr lang="en-US" altLang="en-US" sz="1000" i="1" dirty="0">
                <a:latin typeface="Comic Sans MS" panose="030F0702030302020204" pitchFamily="66" charset="0"/>
              </a:rPr>
              <a:t> </a:t>
            </a:r>
            <a:r>
              <a:rPr lang="en-US" altLang="en-US" sz="1000" i="1" dirty="0" smtClean="0">
                <a:latin typeface="Comic Sans MS" panose="030F0702030302020204" pitchFamily="66" charset="0"/>
              </a:rPr>
              <a:t> Pathak</a:t>
            </a:r>
            <a:br>
              <a:rPr lang="en-US" altLang="en-US" sz="1000" i="1" dirty="0" smtClean="0">
                <a:latin typeface="Comic Sans MS" panose="030F0702030302020204" pitchFamily="66" charset="0"/>
              </a:rPr>
            </a:br>
            <a:r>
              <a:rPr lang="en-US" altLang="en-US" sz="900" i="1" dirty="0" smtClean="0">
                <a:latin typeface="Comic Sans MS" panose="030F0702030302020204" pitchFamily="66" charset="0"/>
              </a:rPr>
              <a:t>VLM-13</a:t>
            </a:r>
            <a:endParaRPr lang="en-US" altLang="en-US" sz="900" i="1" dirty="0">
              <a:latin typeface="Comic Sans MS" panose="030F0702030302020204" pitchFamily="66" charset="0"/>
            </a:endParaRPr>
          </a:p>
        </p:txBody>
      </p:sp>
      <p:sp>
        <p:nvSpPr>
          <p:cNvPr id="7210" name="Rectangle 5"/>
          <p:cNvSpPr>
            <a:spLocks noChangeArrowheads="1"/>
          </p:cNvSpPr>
          <p:nvPr>
            <p:custDataLst>
              <p:tags r:id="rId29"/>
            </p:custDataLst>
          </p:nvPr>
        </p:nvSpPr>
        <p:spPr bwMode="auto">
          <a:xfrm>
            <a:off x="11095159" y="3427413"/>
            <a:ext cx="61913" cy="1135062"/>
          </a:xfrm>
          <a:prstGeom prst="rect">
            <a:avLst/>
          </a:prstGeom>
          <a:solidFill>
            <a:schemeClr val="tx2">
              <a:lumMod val="75000"/>
            </a:schemeClr>
          </a:solidFill>
          <a:ln w="12700" algn="ctr">
            <a:solidFill>
              <a:schemeClr val="tx1"/>
            </a:solidFill>
            <a:round/>
            <a:headEnd type="none" w="sm" len="sm"/>
            <a:tailEnd type="none" w="sm" len="sm"/>
          </a:ln>
          <a:effectLst/>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defRPr/>
            </a:pPr>
            <a:endParaRPr lang="en-US" altLang="en-US" sz="1800"/>
          </a:p>
        </p:txBody>
      </p:sp>
      <p:sp>
        <p:nvSpPr>
          <p:cNvPr id="10269" name="Freeform 16"/>
          <p:cNvSpPr>
            <a:spLocks/>
          </p:cNvSpPr>
          <p:nvPr>
            <p:custDataLst>
              <p:tags r:id="rId30"/>
            </p:custDataLst>
          </p:nvPr>
        </p:nvSpPr>
        <p:spPr bwMode="auto">
          <a:xfrm>
            <a:off x="1779774" y="3924300"/>
            <a:ext cx="2033588" cy="280988"/>
          </a:xfrm>
          <a:custGeom>
            <a:avLst/>
            <a:gdLst>
              <a:gd name="T0" fmla="*/ 0 w 2033588"/>
              <a:gd name="T1" fmla="*/ 0 h 281049"/>
              <a:gd name="T2" fmla="*/ 261938 w 2033588"/>
              <a:gd name="T3" fmla="*/ 223158 h 281049"/>
              <a:gd name="T4" fmla="*/ 985838 w 2033588"/>
              <a:gd name="T5" fmla="*/ 280133 h 281049"/>
              <a:gd name="T6" fmla="*/ 1733550 w 2033588"/>
              <a:gd name="T7" fmla="*/ 227905 h 281049"/>
              <a:gd name="T8" fmla="*/ 2033588 w 2033588"/>
              <a:gd name="T9" fmla="*/ 0 h 281049"/>
              <a:gd name="T10" fmla="*/ 2033588 w 2033588"/>
              <a:gd name="T11" fmla="*/ 0 h 2810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33588" h="281049">
                <a:moveTo>
                  <a:pt x="0" y="0"/>
                </a:moveTo>
                <a:cubicBezTo>
                  <a:pt x="84138" y="74613"/>
                  <a:pt x="99219" y="177007"/>
                  <a:pt x="261938" y="223838"/>
                </a:cubicBezTo>
                <a:cubicBezTo>
                  <a:pt x="424657" y="270669"/>
                  <a:pt x="740569" y="280194"/>
                  <a:pt x="985838" y="280988"/>
                </a:cubicBezTo>
                <a:cubicBezTo>
                  <a:pt x="1231107" y="281782"/>
                  <a:pt x="1558925" y="275431"/>
                  <a:pt x="1733550" y="228600"/>
                </a:cubicBezTo>
                <a:cubicBezTo>
                  <a:pt x="1908175" y="181769"/>
                  <a:pt x="1983582" y="38100"/>
                  <a:pt x="2033588" y="0"/>
                </a:cubicBezTo>
              </a:path>
            </a:pathLst>
          </a:custGeom>
          <a:noFill/>
          <a:ln w="28575" cap="flat" cmpd="sng" algn="ctr">
            <a:solidFill>
              <a:schemeClr val="tx1"/>
            </a:solidFill>
            <a:prstDash val="solid"/>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 name="Freeform 47"/>
          <p:cNvSpPr/>
          <p:nvPr>
            <p:custDataLst>
              <p:tags r:id="rId31"/>
            </p:custDataLst>
          </p:nvPr>
        </p:nvSpPr>
        <p:spPr bwMode="auto">
          <a:xfrm>
            <a:off x="1798825" y="3903663"/>
            <a:ext cx="1997075" cy="277812"/>
          </a:xfrm>
          <a:custGeom>
            <a:avLst/>
            <a:gdLst>
              <a:gd name="connsiteX0" fmla="*/ 0 w 2024063"/>
              <a:gd name="connsiteY0" fmla="*/ 0 h 280988"/>
              <a:gd name="connsiteX1" fmla="*/ 252413 w 2024063"/>
              <a:gd name="connsiteY1" fmla="*/ 223838 h 280988"/>
              <a:gd name="connsiteX2" fmla="*/ 976313 w 2024063"/>
              <a:gd name="connsiteY2" fmla="*/ 280988 h 280988"/>
              <a:gd name="connsiteX3" fmla="*/ 1724025 w 2024063"/>
              <a:gd name="connsiteY3" fmla="*/ 228600 h 280988"/>
              <a:gd name="connsiteX4" fmla="*/ 2024063 w 2024063"/>
              <a:gd name="connsiteY4" fmla="*/ 0 h 280988"/>
              <a:gd name="connsiteX5" fmla="*/ 2024063 w 2024063"/>
              <a:gd name="connsiteY5" fmla="*/ 0 h 280988"/>
              <a:gd name="connsiteX0" fmla="*/ 0 w 2024063"/>
              <a:gd name="connsiteY0" fmla="*/ 0 h 280988"/>
              <a:gd name="connsiteX1" fmla="*/ 252413 w 2024063"/>
              <a:gd name="connsiteY1" fmla="*/ 223838 h 280988"/>
              <a:gd name="connsiteX2" fmla="*/ 976313 w 2024063"/>
              <a:gd name="connsiteY2" fmla="*/ 280988 h 280988"/>
              <a:gd name="connsiteX3" fmla="*/ 1724025 w 2024063"/>
              <a:gd name="connsiteY3" fmla="*/ 228600 h 280988"/>
              <a:gd name="connsiteX4" fmla="*/ 2024063 w 2024063"/>
              <a:gd name="connsiteY4" fmla="*/ 0 h 280988"/>
              <a:gd name="connsiteX5" fmla="*/ 2024063 w 2024063"/>
              <a:gd name="connsiteY5" fmla="*/ 0 h 280988"/>
              <a:gd name="connsiteX0" fmla="*/ 0 w 2024063"/>
              <a:gd name="connsiteY0" fmla="*/ 0 h 280988"/>
              <a:gd name="connsiteX1" fmla="*/ 252413 w 2024063"/>
              <a:gd name="connsiteY1" fmla="*/ 223838 h 280988"/>
              <a:gd name="connsiteX2" fmla="*/ 976313 w 2024063"/>
              <a:gd name="connsiteY2" fmla="*/ 280988 h 280988"/>
              <a:gd name="connsiteX3" fmla="*/ 1724025 w 2024063"/>
              <a:gd name="connsiteY3" fmla="*/ 228600 h 280988"/>
              <a:gd name="connsiteX4" fmla="*/ 2024063 w 2024063"/>
              <a:gd name="connsiteY4" fmla="*/ 0 h 280988"/>
              <a:gd name="connsiteX5" fmla="*/ 2024063 w 2024063"/>
              <a:gd name="connsiteY5" fmla="*/ 0 h 280988"/>
              <a:gd name="connsiteX0" fmla="*/ 0 w 2024063"/>
              <a:gd name="connsiteY0" fmla="*/ 0 h 281049"/>
              <a:gd name="connsiteX1" fmla="*/ 252413 w 2024063"/>
              <a:gd name="connsiteY1" fmla="*/ 223838 h 281049"/>
              <a:gd name="connsiteX2" fmla="*/ 976313 w 2024063"/>
              <a:gd name="connsiteY2" fmla="*/ 280988 h 281049"/>
              <a:gd name="connsiteX3" fmla="*/ 1724025 w 2024063"/>
              <a:gd name="connsiteY3" fmla="*/ 228600 h 281049"/>
              <a:gd name="connsiteX4" fmla="*/ 2024063 w 2024063"/>
              <a:gd name="connsiteY4" fmla="*/ 0 h 281049"/>
              <a:gd name="connsiteX5" fmla="*/ 2024063 w 2024063"/>
              <a:gd name="connsiteY5" fmla="*/ 0 h 281049"/>
              <a:gd name="connsiteX0" fmla="*/ 0 w 2024063"/>
              <a:gd name="connsiteY0" fmla="*/ 0 h 281049"/>
              <a:gd name="connsiteX1" fmla="*/ 252413 w 2024063"/>
              <a:gd name="connsiteY1" fmla="*/ 223838 h 281049"/>
              <a:gd name="connsiteX2" fmla="*/ 976313 w 2024063"/>
              <a:gd name="connsiteY2" fmla="*/ 280988 h 281049"/>
              <a:gd name="connsiteX3" fmla="*/ 1724025 w 2024063"/>
              <a:gd name="connsiteY3" fmla="*/ 228600 h 281049"/>
              <a:gd name="connsiteX4" fmla="*/ 2024063 w 2024063"/>
              <a:gd name="connsiteY4" fmla="*/ 0 h 281049"/>
              <a:gd name="connsiteX5" fmla="*/ 2024063 w 2024063"/>
              <a:gd name="connsiteY5" fmla="*/ 0 h 281049"/>
              <a:gd name="connsiteX0" fmla="*/ 0 w 2033588"/>
              <a:gd name="connsiteY0" fmla="*/ 0 h 281049"/>
              <a:gd name="connsiteX1" fmla="*/ 261938 w 2033588"/>
              <a:gd name="connsiteY1" fmla="*/ 223838 h 281049"/>
              <a:gd name="connsiteX2" fmla="*/ 985838 w 2033588"/>
              <a:gd name="connsiteY2" fmla="*/ 280988 h 281049"/>
              <a:gd name="connsiteX3" fmla="*/ 1733550 w 2033588"/>
              <a:gd name="connsiteY3" fmla="*/ 228600 h 281049"/>
              <a:gd name="connsiteX4" fmla="*/ 2033588 w 2033588"/>
              <a:gd name="connsiteY4" fmla="*/ 0 h 281049"/>
              <a:gd name="connsiteX5" fmla="*/ 2033588 w 2033588"/>
              <a:gd name="connsiteY5" fmla="*/ 0 h 281049"/>
              <a:gd name="connsiteX0" fmla="*/ 0 w 2033588"/>
              <a:gd name="connsiteY0" fmla="*/ 0 h 284163"/>
              <a:gd name="connsiteX1" fmla="*/ 271463 w 2033588"/>
              <a:gd name="connsiteY1" fmla="*/ 252413 h 284163"/>
              <a:gd name="connsiteX2" fmla="*/ 985838 w 2033588"/>
              <a:gd name="connsiteY2" fmla="*/ 280988 h 284163"/>
              <a:gd name="connsiteX3" fmla="*/ 1733550 w 2033588"/>
              <a:gd name="connsiteY3" fmla="*/ 228600 h 284163"/>
              <a:gd name="connsiteX4" fmla="*/ 2033588 w 2033588"/>
              <a:gd name="connsiteY4" fmla="*/ 0 h 284163"/>
              <a:gd name="connsiteX5" fmla="*/ 2033588 w 2033588"/>
              <a:gd name="connsiteY5" fmla="*/ 0 h 284163"/>
              <a:gd name="connsiteX0" fmla="*/ 0 w 2033588"/>
              <a:gd name="connsiteY0" fmla="*/ 0 h 282441"/>
              <a:gd name="connsiteX1" fmla="*/ 271463 w 2033588"/>
              <a:gd name="connsiteY1" fmla="*/ 247651 h 282441"/>
              <a:gd name="connsiteX2" fmla="*/ 985838 w 2033588"/>
              <a:gd name="connsiteY2" fmla="*/ 280988 h 282441"/>
              <a:gd name="connsiteX3" fmla="*/ 1733550 w 2033588"/>
              <a:gd name="connsiteY3" fmla="*/ 228600 h 282441"/>
              <a:gd name="connsiteX4" fmla="*/ 2033588 w 2033588"/>
              <a:gd name="connsiteY4" fmla="*/ 0 h 282441"/>
              <a:gd name="connsiteX5" fmla="*/ 2033588 w 2033588"/>
              <a:gd name="connsiteY5" fmla="*/ 0 h 282441"/>
              <a:gd name="connsiteX0" fmla="*/ 0 w 2033588"/>
              <a:gd name="connsiteY0" fmla="*/ 0 h 309576"/>
              <a:gd name="connsiteX1" fmla="*/ 271463 w 2033588"/>
              <a:gd name="connsiteY1" fmla="*/ 247651 h 309576"/>
              <a:gd name="connsiteX2" fmla="*/ 985838 w 2033588"/>
              <a:gd name="connsiteY2" fmla="*/ 309563 h 309576"/>
              <a:gd name="connsiteX3" fmla="*/ 1733550 w 2033588"/>
              <a:gd name="connsiteY3" fmla="*/ 228600 h 309576"/>
              <a:gd name="connsiteX4" fmla="*/ 2033588 w 2033588"/>
              <a:gd name="connsiteY4" fmla="*/ 0 h 309576"/>
              <a:gd name="connsiteX5" fmla="*/ 2033588 w 2033588"/>
              <a:gd name="connsiteY5" fmla="*/ 0 h 309576"/>
              <a:gd name="connsiteX0" fmla="*/ 0 w 2033588"/>
              <a:gd name="connsiteY0" fmla="*/ 0 h 309688"/>
              <a:gd name="connsiteX1" fmla="*/ 271463 w 2033588"/>
              <a:gd name="connsiteY1" fmla="*/ 247651 h 309688"/>
              <a:gd name="connsiteX2" fmla="*/ 985838 w 2033588"/>
              <a:gd name="connsiteY2" fmla="*/ 309563 h 309688"/>
              <a:gd name="connsiteX3" fmla="*/ 1738312 w 2033588"/>
              <a:gd name="connsiteY3" fmla="*/ 261937 h 309688"/>
              <a:gd name="connsiteX4" fmla="*/ 2033588 w 2033588"/>
              <a:gd name="connsiteY4" fmla="*/ 0 h 309688"/>
              <a:gd name="connsiteX5" fmla="*/ 2033588 w 2033588"/>
              <a:gd name="connsiteY5" fmla="*/ 0 h 309688"/>
              <a:gd name="connsiteX0" fmla="*/ 0 w 2033588"/>
              <a:gd name="connsiteY0" fmla="*/ 0 h 309591"/>
              <a:gd name="connsiteX1" fmla="*/ 271463 w 2033588"/>
              <a:gd name="connsiteY1" fmla="*/ 247651 h 309591"/>
              <a:gd name="connsiteX2" fmla="*/ 985838 w 2033588"/>
              <a:gd name="connsiteY2" fmla="*/ 309563 h 309591"/>
              <a:gd name="connsiteX3" fmla="*/ 1738312 w 2033588"/>
              <a:gd name="connsiteY3" fmla="*/ 247650 h 309591"/>
              <a:gd name="connsiteX4" fmla="*/ 2033588 w 2033588"/>
              <a:gd name="connsiteY4" fmla="*/ 0 h 309591"/>
              <a:gd name="connsiteX5" fmla="*/ 2033588 w 2033588"/>
              <a:gd name="connsiteY5" fmla="*/ 0 h 309591"/>
              <a:gd name="connsiteX0" fmla="*/ 0 w 2033588"/>
              <a:gd name="connsiteY0" fmla="*/ 0 h 309583"/>
              <a:gd name="connsiteX1" fmla="*/ 271463 w 2033588"/>
              <a:gd name="connsiteY1" fmla="*/ 247651 h 309583"/>
              <a:gd name="connsiteX2" fmla="*/ 985838 w 2033588"/>
              <a:gd name="connsiteY2" fmla="*/ 309563 h 309583"/>
              <a:gd name="connsiteX3" fmla="*/ 1738312 w 2033588"/>
              <a:gd name="connsiteY3" fmla="*/ 247650 h 309583"/>
              <a:gd name="connsiteX4" fmla="*/ 1981216 w 2033588"/>
              <a:gd name="connsiteY4" fmla="*/ 66697 h 309583"/>
              <a:gd name="connsiteX5" fmla="*/ 2033588 w 2033588"/>
              <a:gd name="connsiteY5" fmla="*/ 0 h 309583"/>
              <a:gd name="connsiteX6" fmla="*/ 2033588 w 2033588"/>
              <a:gd name="connsiteY6" fmla="*/ 0 h 309583"/>
              <a:gd name="connsiteX0" fmla="*/ 0 w 2037320"/>
              <a:gd name="connsiteY0" fmla="*/ 0 h 309583"/>
              <a:gd name="connsiteX1" fmla="*/ 271463 w 2037320"/>
              <a:gd name="connsiteY1" fmla="*/ 247651 h 309583"/>
              <a:gd name="connsiteX2" fmla="*/ 985838 w 2037320"/>
              <a:gd name="connsiteY2" fmla="*/ 309563 h 309583"/>
              <a:gd name="connsiteX3" fmla="*/ 1738312 w 2037320"/>
              <a:gd name="connsiteY3" fmla="*/ 247650 h 309583"/>
              <a:gd name="connsiteX4" fmla="*/ 2007410 w 2037320"/>
              <a:gd name="connsiteY4" fmla="*/ 38122 h 309583"/>
              <a:gd name="connsiteX5" fmla="*/ 2033588 w 2037320"/>
              <a:gd name="connsiteY5" fmla="*/ 0 h 309583"/>
              <a:gd name="connsiteX6" fmla="*/ 2033588 w 2037320"/>
              <a:gd name="connsiteY6" fmla="*/ 0 h 309583"/>
              <a:gd name="connsiteX0" fmla="*/ 0 w 2037320"/>
              <a:gd name="connsiteY0" fmla="*/ 0 h 309583"/>
              <a:gd name="connsiteX1" fmla="*/ 271463 w 2037320"/>
              <a:gd name="connsiteY1" fmla="*/ 247651 h 309583"/>
              <a:gd name="connsiteX2" fmla="*/ 985838 w 2037320"/>
              <a:gd name="connsiteY2" fmla="*/ 309563 h 309583"/>
              <a:gd name="connsiteX3" fmla="*/ 1738312 w 2037320"/>
              <a:gd name="connsiteY3" fmla="*/ 247650 h 309583"/>
              <a:gd name="connsiteX4" fmla="*/ 2007410 w 2037320"/>
              <a:gd name="connsiteY4" fmla="*/ 38122 h 309583"/>
              <a:gd name="connsiteX5" fmla="*/ 2033588 w 2037320"/>
              <a:gd name="connsiteY5" fmla="*/ 0 h 309583"/>
              <a:gd name="connsiteX0" fmla="*/ 0 w 2042810"/>
              <a:gd name="connsiteY0" fmla="*/ 0 h 309583"/>
              <a:gd name="connsiteX1" fmla="*/ 271463 w 2042810"/>
              <a:gd name="connsiteY1" fmla="*/ 247651 h 309583"/>
              <a:gd name="connsiteX2" fmla="*/ 985838 w 2042810"/>
              <a:gd name="connsiteY2" fmla="*/ 309563 h 309583"/>
              <a:gd name="connsiteX3" fmla="*/ 1738312 w 2042810"/>
              <a:gd name="connsiteY3" fmla="*/ 247650 h 309583"/>
              <a:gd name="connsiteX4" fmla="*/ 2016935 w 2042810"/>
              <a:gd name="connsiteY4" fmla="*/ 35740 h 309583"/>
              <a:gd name="connsiteX5" fmla="*/ 2033588 w 2042810"/>
              <a:gd name="connsiteY5" fmla="*/ 0 h 309583"/>
              <a:gd name="connsiteX0" fmla="*/ 0 w 2016935"/>
              <a:gd name="connsiteY0" fmla="*/ 0 h 309583"/>
              <a:gd name="connsiteX1" fmla="*/ 271463 w 2016935"/>
              <a:gd name="connsiteY1" fmla="*/ 247651 h 309583"/>
              <a:gd name="connsiteX2" fmla="*/ 985838 w 2016935"/>
              <a:gd name="connsiteY2" fmla="*/ 309563 h 309583"/>
              <a:gd name="connsiteX3" fmla="*/ 1738312 w 2016935"/>
              <a:gd name="connsiteY3" fmla="*/ 247650 h 309583"/>
              <a:gd name="connsiteX4" fmla="*/ 2016935 w 2016935"/>
              <a:gd name="connsiteY4" fmla="*/ 35740 h 309583"/>
              <a:gd name="connsiteX0" fmla="*/ 1012 w 2017947"/>
              <a:gd name="connsiteY0" fmla="*/ 2086 h 311669"/>
              <a:gd name="connsiteX1" fmla="*/ 29604 w 2017947"/>
              <a:gd name="connsiteY1" fmla="*/ 25920 h 311669"/>
              <a:gd name="connsiteX2" fmla="*/ 272475 w 2017947"/>
              <a:gd name="connsiteY2" fmla="*/ 249737 h 311669"/>
              <a:gd name="connsiteX3" fmla="*/ 986850 w 2017947"/>
              <a:gd name="connsiteY3" fmla="*/ 311649 h 311669"/>
              <a:gd name="connsiteX4" fmla="*/ 1739324 w 2017947"/>
              <a:gd name="connsiteY4" fmla="*/ 249736 h 311669"/>
              <a:gd name="connsiteX5" fmla="*/ 2017947 w 2017947"/>
              <a:gd name="connsiteY5" fmla="*/ 37826 h 311669"/>
              <a:gd name="connsiteX0" fmla="*/ 0 w 2016935"/>
              <a:gd name="connsiteY0" fmla="*/ 730 h 310313"/>
              <a:gd name="connsiteX1" fmla="*/ 7161 w 2016935"/>
              <a:gd name="connsiteY1" fmla="*/ 3133 h 310313"/>
              <a:gd name="connsiteX2" fmla="*/ 28592 w 2016935"/>
              <a:gd name="connsiteY2" fmla="*/ 24564 h 310313"/>
              <a:gd name="connsiteX3" fmla="*/ 271463 w 2016935"/>
              <a:gd name="connsiteY3" fmla="*/ 248381 h 310313"/>
              <a:gd name="connsiteX4" fmla="*/ 985838 w 2016935"/>
              <a:gd name="connsiteY4" fmla="*/ 310293 h 310313"/>
              <a:gd name="connsiteX5" fmla="*/ 1738312 w 2016935"/>
              <a:gd name="connsiteY5" fmla="*/ 248380 h 310313"/>
              <a:gd name="connsiteX6" fmla="*/ 2016935 w 2016935"/>
              <a:gd name="connsiteY6" fmla="*/ 36470 h 310313"/>
              <a:gd name="connsiteX0" fmla="*/ 0 w 2016935"/>
              <a:gd name="connsiteY0" fmla="*/ 730 h 310313"/>
              <a:gd name="connsiteX1" fmla="*/ 7161 w 2016935"/>
              <a:gd name="connsiteY1" fmla="*/ 3133 h 310313"/>
              <a:gd name="connsiteX2" fmla="*/ 28592 w 2016935"/>
              <a:gd name="connsiteY2" fmla="*/ 24564 h 310313"/>
              <a:gd name="connsiteX3" fmla="*/ 271463 w 2016935"/>
              <a:gd name="connsiteY3" fmla="*/ 248381 h 310313"/>
              <a:gd name="connsiteX4" fmla="*/ 985838 w 2016935"/>
              <a:gd name="connsiteY4" fmla="*/ 310293 h 310313"/>
              <a:gd name="connsiteX5" fmla="*/ 1738312 w 2016935"/>
              <a:gd name="connsiteY5" fmla="*/ 248380 h 310313"/>
              <a:gd name="connsiteX6" fmla="*/ 2016935 w 2016935"/>
              <a:gd name="connsiteY6" fmla="*/ 36470 h 310313"/>
              <a:gd name="connsiteX0" fmla="*/ 528 w 2017463"/>
              <a:gd name="connsiteY0" fmla="*/ 1704 h 311287"/>
              <a:gd name="connsiteX1" fmla="*/ 29120 w 2017463"/>
              <a:gd name="connsiteY1" fmla="*/ 25538 h 311287"/>
              <a:gd name="connsiteX2" fmla="*/ 271991 w 2017463"/>
              <a:gd name="connsiteY2" fmla="*/ 249355 h 311287"/>
              <a:gd name="connsiteX3" fmla="*/ 986366 w 2017463"/>
              <a:gd name="connsiteY3" fmla="*/ 311267 h 311287"/>
              <a:gd name="connsiteX4" fmla="*/ 1738840 w 2017463"/>
              <a:gd name="connsiteY4" fmla="*/ 249354 h 311287"/>
              <a:gd name="connsiteX5" fmla="*/ 2017463 w 2017463"/>
              <a:gd name="connsiteY5" fmla="*/ 37444 h 311287"/>
              <a:gd name="connsiteX0" fmla="*/ 0 w 1988343"/>
              <a:gd name="connsiteY0" fmla="*/ 0 h 285749"/>
              <a:gd name="connsiteX1" fmla="*/ 242871 w 1988343"/>
              <a:gd name="connsiteY1" fmla="*/ 223817 h 285749"/>
              <a:gd name="connsiteX2" fmla="*/ 957246 w 1988343"/>
              <a:gd name="connsiteY2" fmla="*/ 285729 h 285749"/>
              <a:gd name="connsiteX3" fmla="*/ 1709720 w 1988343"/>
              <a:gd name="connsiteY3" fmla="*/ 223816 h 285749"/>
              <a:gd name="connsiteX4" fmla="*/ 1988343 w 1988343"/>
              <a:gd name="connsiteY4" fmla="*/ 11906 h 285749"/>
              <a:gd name="connsiteX0" fmla="*/ 0 w 1997868"/>
              <a:gd name="connsiteY0" fmla="*/ 0 h 278606"/>
              <a:gd name="connsiteX1" fmla="*/ 252396 w 1997868"/>
              <a:gd name="connsiteY1" fmla="*/ 216674 h 278606"/>
              <a:gd name="connsiteX2" fmla="*/ 966771 w 1997868"/>
              <a:gd name="connsiteY2" fmla="*/ 278586 h 278606"/>
              <a:gd name="connsiteX3" fmla="*/ 1719245 w 1997868"/>
              <a:gd name="connsiteY3" fmla="*/ 216673 h 278606"/>
              <a:gd name="connsiteX4" fmla="*/ 1997868 w 1997868"/>
              <a:gd name="connsiteY4" fmla="*/ 4763 h 278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7868" h="278606">
                <a:moveTo>
                  <a:pt x="0" y="0"/>
                </a:moveTo>
                <a:cubicBezTo>
                  <a:pt x="45244" y="41275"/>
                  <a:pt x="92855" y="169053"/>
                  <a:pt x="252396" y="216674"/>
                </a:cubicBezTo>
                <a:cubicBezTo>
                  <a:pt x="411937" y="264296"/>
                  <a:pt x="721502" y="277792"/>
                  <a:pt x="966771" y="278586"/>
                </a:cubicBezTo>
                <a:cubicBezTo>
                  <a:pt x="1212040" y="279380"/>
                  <a:pt x="1553349" y="257151"/>
                  <a:pt x="1719245" y="216673"/>
                </a:cubicBezTo>
                <a:cubicBezTo>
                  <a:pt x="1885141" y="176195"/>
                  <a:pt x="1948655" y="46038"/>
                  <a:pt x="1997868" y="4763"/>
                </a:cubicBezTo>
              </a:path>
            </a:pathLst>
          </a:custGeom>
          <a:noFill/>
          <a:ln w="28575" cap="flat" cmpd="sng" algn="ctr">
            <a:solidFill>
              <a:schemeClr val="tx2">
                <a:lumMod val="60000"/>
                <a:lumOff val="40000"/>
              </a:schemeClr>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a:p>
        </p:txBody>
      </p:sp>
      <p:sp>
        <p:nvSpPr>
          <p:cNvPr id="49" name="Freeform 48"/>
          <p:cNvSpPr>
            <a:spLocks/>
          </p:cNvSpPr>
          <p:nvPr>
            <p:custDataLst>
              <p:tags r:id="rId32"/>
            </p:custDataLst>
          </p:nvPr>
        </p:nvSpPr>
        <p:spPr bwMode="auto">
          <a:xfrm>
            <a:off x="1798825" y="3336926"/>
            <a:ext cx="1997075" cy="277813"/>
          </a:xfrm>
          <a:custGeom>
            <a:avLst/>
            <a:gdLst>
              <a:gd name="T0" fmla="*/ 0 w 1997868"/>
              <a:gd name="T1" fmla="*/ 0 h 278606"/>
              <a:gd name="T2" fmla="*/ 252196 w 1997868"/>
              <a:gd name="T3" fmla="*/ 215442 h 278606"/>
              <a:gd name="T4" fmla="*/ 966003 w 1997868"/>
              <a:gd name="T5" fmla="*/ 277001 h 278606"/>
              <a:gd name="T6" fmla="*/ 1717881 w 1997868"/>
              <a:gd name="T7" fmla="*/ 215441 h 278606"/>
              <a:gd name="T8" fmla="*/ 1996282 w 1997868"/>
              <a:gd name="T9" fmla="*/ 4735 h 2786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97868" h="278606">
                <a:moveTo>
                  <a:pt x="0" y="0"/>
                </a:moveTo>
                <a:cubicBezTo>
                  <a:pt x="45244" y="41275"/>
                  <a:pt x="92855" y="169053"/>
                  <a:pt x="252396" y="216674"/>
                </a:cubicBezTo>
                <a:cubicBezTo>
                  <a:pt x="411937" y="264296"/>
                  <a:pt x="721502" y="277792"/>
                  <a:pt x="966771" y="278586"/>
                </a:cubicBezTo>
                <a:cubicBezTo>
                  <a:pt x="1212040" y="279380"/>
                  <a:pt x="1553349" y="257151"/>
                  <a:pt x="1719245" y="216673"/>
                </a:cubicBezTo>
                <a:cubicBezTo>
                  <a:pt x="1885141" y="176195"/>
                  <a:pt x="1948655" y="46038"/>
                  <a:pt x="1997868" y="4763"/>
                </a:cubicBezTo>
              </a:path>
            </a:pathLst>
          </a:custGeom>
          <a:noFill/>
          <a:ln w="15875" cap="flat" cmpd="sng" algn="ctr">
            <a:solidFill>
              <a:srgbClr val="92D050"/>
            </a:solidFill>
            <a:prstDash val="solid"/>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9" name="Freeform 8"/>
          <p:cNvSpPr/>
          <p:nvPr>
            <p:custDataLst>
              <p:tags r:id="rId33"/>
            </p:custDataLst>
          </p:nvPr>
        </p:nvSpPr>
        <p:spPr bwMode="auto">
          <a:xfrm>
            <a:off x="1346388" y="5491164"/>
            <a:ext cx="2466975" cy="644525"/>
          </a:xfrm>
          <a:custGeom>
            <a:avLst/>
            <a:gdLst>
              <a:gd name="connsiteX0" fmla="*/ 204787 w 2243137"/>
              <a:gd name="connsiteY0" fmla="*/ 428625 h 681037"/>
              <a:gd name="connsiteX1" fmla="*/ 347662 w 2243137"/>
              <a:gd name="connsiteY1" fmla="*/ 581025 h 681037"/>
              <a:gd name="connsiteX2" fmla="*/ 561975 w 2243137"/>
              <a:gd name="connsiteY2" fmla="*/ 681037 h 681037"/>
              <a:gd name="connsiteX3" fmla="*/ 1852612 w 2243137"/>
              <a:gd name="connsiteY3" fmla="*/ 681037 h 681037"/>
              <a:gd name="connsiteX4" fmla="*/ 2119312 w 2243137"/>
              <a:gd name="connsiteY4" fmla="*/ 566737 h 681037"/>
              <a:gd name="connsiteX5" fmla="*/ 2243137 w 2243137"/>
              <a:gd name="connsiteY5" fmla="*/ 428625 h 681037"/>
              <a:gd name="connsiteX6" fmla="*/ 1624012 w 2243137"/>
              <a:gd name="connsiteY6" fmla="*/ 147637 h 681037"/>
              <a:gd name="connsiteX7" fmla="*/ 1462087 w 2243137"/>
              <a:gd name="connsiteY7" fmla="*/ 271462 h 681037"/>
              <a:gd name="connsiteX8" fmla="*/ 1390650 w 2243137"/>
              <a:gd name="connsiteY8" fmla="*/ 309562 h 681037"/>
              <a:gd name="connsiteX9" fmla="*/ 419100 w 2243137"/>
              <a:gd name="connsiteY9" fmla="*/ 300037 h 681037"/>
              <a:gd name="connsiteX10" fmla="*/ 0 w 2243137"/>
              <a:gd name="connsiteY10" fmla="*/ 0 h 681037"/>
              <a:gd name="connsiteX11" fmla="*/ 204787 w 2243137"/>
              <a:gd name="connsiteY11" fmla="*/ 428625 h 681037"/>
              <a:gd name="connsiteX0" fmla="*/ 204787 w 2243137"/>
              <a:gd name="connsiteY0" fmla="*/ 428625 h 681037"/>
              <a:gd name="connsiteX1" fmla="*/ 347662 w 2243137"/>
              <a:gd name="connsiteY1" fmla="*/ 581025 h 681037"/>
              <a:gd name="connsiteX2" fmla="*/ 561975 w 2243137"/>
              <a:gd name="connsiteY2" fmla="*/ 681037 h 681037"/>
              <a:gd name="connsiteX3" fmla="*/ 1852612 w 2243137"/>
              <a:gd name="connsiteY3" fmla="*/ 681037 h 681037"/>
              <a:gd name="connsiteX4" fmla="*/ 2119312 w 2243137"/>
              <a:gd name="connsiteY4" fmla="*/ 566737 h 681037"/>
              <a:gd name="connsiteX5" fmla="*/ 2243137 w 2243137"/>
              <a:gd name="connsiteY5" fmla="*/ 428625 h 681037"/>
              <a:gd name="connsiteX6" fmla="*/ 1624012 w 2243137"/>
              <a:gd name="connsiteY6" fmla="*/ 147637 h 681037"/>
              <a:gd name="connsiteX7" fmla="*/ 1462087 w 2243137"/>
              <a:gd name="connsiteY7" fmla="*/ 271462 h 681037"/>
              <a:gd name="connsiteX8" fmla="*/ 1390650 w 2243137"/>
              <a:gd name="connsiteY8" fmla="*/ 309562 h 681037"/>
              <a:gd name="connsiteX9" fmla="*/ 419100 w 2243137"/>
              <a:gd name="connsiteY9" fmla="*/ 300037 h 681037"/>
              <a:gd name="connsiteX10" fmla="*/ 338137 w 2243137"/>
              <a:gd name="connsiteY10" fmla="*/ 242887 h 681037"/>
              <a:gd name="connsiteX11" fmla="*/ 0 w 2243137"/>
              <a:gd name="connsiteY11" fmla="*/ 0 h 681037"/>
              <a:gd name="connsiteX12" fmla="*/ 204787 w 2243137"/>
              <a:gd name="connsiteY12" fmla="*/ 428625 h 681037"/>
              <a:gd name="connsiteX0" fmla="*/ 204787 w 2243137"/>
              <a:gd name="connsiteY0" fmla="*/ 428625 h 681037"/>
              <a:gd name="connsiteX1" fmla="*/ 347662 w 2243137"/>
              <a:gd name="connsiteY1" fmla="*/ 581025 h 681037"/>
              <a:gd name="connsiteX2" fmla="*/ 561975 w 2243137"/>
              <a:gd name="connsiteY2" fmla="*/ 681037 h 681037"/>
              <a:gd name="connsiteX3" fmla="*/ 1852612 w 2243137"/>
              <a:gd name="connsiteY3" fmla="*/ 681037 h 681037"/>
              <a:gd name="connsiteX4" fmla="*/ 2119312 w 2243137"/>
              <a:gd name="connsiteY4" fmla="*/ 566737 h 681037"/>
              <a:gd name="connsiteX5" fmla="*/ 2243137 w 2243137"/>
              <a:gd name="connsiteY5" fmla="*/ 428625 h 681037"/>
              <a:gd name="connsiteX6" fmla="*/ 1624012 w 2243137"/>
              <a:gd name="connsiteY6" fmla="*/ 147637 h 681037"/>
              <a:gd name="connsiteX7" fmla="*/ 1462087 w 2243137"/>
              <a:gd name="connsiteY7" fmla="*/ 271462 h 681037"/>
              <a:gd name="connsiteX8" fmla="*/ 1390650 w 2243137"/>
              <a:gd name="connsiteY8" fmla="*/ 309562 h 681037"/>
              <a:gd name="connsiteX9" fmla="*/ 552450 w 2243137"/>
              <a:gd name="connsiteY9" fmla="*/ 304799 h 681037"/>
              <a:gd name="connsiteX10" fmla="*/ 338137 w 2243137"/>
              <a:gd name="connsiteY10" fmla="*/ 242887 h 681037"/>
              <a:gd name="connsiteX11" fmla="*/ 0 w 2243137"/>
              <a:gd name="connsiteY11" fmla="*/ 0 h 681037"/>
              <a:gd name="connsiteX12" fmla="*/ 204787 w 2243137"/>
              <a:gd name="connsiteY12" fmla="*/ 428625 h 681037"/>
              <a:gd name="connsiteX0" fmla="*/ 204787 w 2243137"/>
              <a:gd name="connsiteY0" fmla="*/ 428625 h 681037"/>
              <a:gd name="connsiteX1" fmla="*/ 347662 w 2243137"/>
              <a:gd name="connsiteY1" fmla="*/ 581025 h 681037"/>
              <a:gd name="connsiteX2" fmla="*/ 561975 w 2243137"/>
              <a:gd name="connsiteY2" fmla="*/ 681037 h 681037"/>
              <a:gd name="connsiteX3" fmla="*/ 1852612 w 2243137"/>
              <a:gd name="connsiteY3" fmla="*/ 681037 h 681037"/>
              <a:gd name="connsiteX4" fmla="*/ 2119312 w 2243137"/>
              <a:gd name="connsiteY4" fmla="*/ 566737 h 681037"/>
              <a:gd name="connsiteX5" fmla="*/ 2243137 w 2243137"/>
              <a:gd name="connsiteY5" fmla="*/ 428625 h 681037"/>
              <a:gd name="connsiteX6" fmla="*/ 1624012 w 2243137"/>
              <a:gd name="connsiteY6" fmla="*/ 147637 h 681037"/>
              <a:gd name="connsiteX7" fmla="*/ 1462087 w 2243137"/>
              <a:gd name="connsiteY7" fmla="*/ 271462 h 681037"/>
              <a:gd name="connsiteX8" fmla="*/ 1304925 w 2243137"/>
              <a:gd name="connsiteY8" fmla="*/ 304799 h 681037"/>
              <a:gd name="connsiteX9" fmla="*/ 552450 w 2243137"/>
              <a:gd name="connsiteY9" fmla="*/ 304799 h 681037"/>
              <a:gd name="connsiteX10" fmla="*/ 338137 w 2243137"/>
              <a:gd name="connsiteY10" fmla="*/ 242887 h 681037"/>
              <a:gd name="connsiteX11" fmla="*/ 0 w 2243137"/>
              <a:gd name="connsiteY11" fmla="*/ 0 h 681037"/>
              <a:gd name="connsiteX12" fmla="*/ 204787 w 2243137"/>
              <a:gd name="connsiteY12" fmla="*/ 428625 h 681037"/>
              <a:gd name="connsiteX0" fmla="*/ 204787 w 2243137"/>
              <a:gd name="connsiteY0" fmla="*/ 428625 h 681037"/>
              <a:gd name="connsiteX1" fmla="*/ 347662 w 2243137"/>
              <a:gd name="connsiteY1" fmla="*/ 581025 h 681037"/>
              <a:gd name="connsiteX2" fmla="*/ 561975 w 2243137"/>
              <a:gd name="connsiteY2" fmla="*/ 681037 h 681037"/>
              <a:gd name="connsiteX3" fmla="*/ 1852612 w 2243137"/>
              <a:gd name="connsiteY3" fmla="*/ 681037 h 681037"/>
              <a:gd name="connsiteX4" fmla="*/ 2119312 w 2243137"/>
              <a:gd name="connsiteY4" fmla="*/ 566737 h 681037"/>
              <a:gd name="connsiteX5" fmla="*/ 2243137 w 2243137"/>
              <a:gd name="connsiteY5" fmla="*/ 428625 h 681037"/>
              <a:gd name="connsiteX6" fmla="*/ 1624012 w 2243137"/>
              <a:gd name="connsiteY6" fmla="*/ 147637 h 681037"/>
              <a:gd name="connsiteX7" fmla="*/ 1462087 w 2243137"/>
              <a:gd name="connsiteY7" fmla="*/ 271462 h 681037"/>
              <a:gd name="connsiteX8" fmla="*/ 1304925 w 2243137"/>
              <a:gd name="connsiteY8" fmla="*/ 304799 h 681037"/>
              <a:gd name="connsiteX9" fmla="*/ 552450 w 2243137"/>
              <a:gd name="connsiteY9" fmla="*/ 304799 h 681037"/>
              <a:gd name="connsiteX10" fmla="*/ 338137 w 2243137"/>
              <a:gd name="connsiteY10" fmla="*/ 242887 h 681037"/>
              <a:gd name="connsiteX11" fmla="*/ 0 w 2243137"/>
              <a:gd name="connsiteY11" fmla="*/ 0 h 681037"/>
              <a:gd name="connsiteX12" fmla="*/ 204787 w 2243137"/>
              <a:gd name="connsiteY12" fmla="*/ 428625 h 681037"/>
              <a:gd name="connsiteX0" fmla="*/ 204787 w 2243137"/>
              <a:gd name="connsiteY0" fmla="*/ 428625 h 681037"/>
              <a:gd name="connsiteX1" fmla="*/ 347662 w 2243137"/>
              <a:gd name="connsiteY1" fmla="*/ 581025 h 681037"/>
              <a:gd name="connsiteX2" fmla="*/ 561975 w 2243137"/>
              <a:gd name="connsiteY2" fmla="*/ 681037 h 681037"/>
              <a:gd name="connsiteX3" fmla="*/ 1852612 w 2243137"/>
              <a:gd name="connsiteY3" fmla="*/ 681037 h 681037"/>
              <a:gd name="connsiteX4" fmla="*/ 2119312 w 2243137"/>
              <a:gd name="connsiteY4" fmla="*/ 566737 h 681037"/>
              <a:gd name="connsiteX5" fmla="*/ 2243137 w 2243137"/>
              <a:gd name="connsiteY5" fmla="*/ 428625 h 681037"/>
              <a:gd name="connsiteX6" fmla="*/ 1624012 w 2243137"/>
              <a:gd name="connsiteY6" fmla="*/ 147637 h 681037"/>
              <a:gd name="connsiteX7" fmla="*/ 1462087 w 2243137"/>
              <a:gd name="connsiteY7" fmla="*/ 271462 h 681037"/>
              <a:gd name="connsiteX8" fmla="*/ 1304925 w 2243137"/>
              <a:gd name="connsiteY8" fmla="*/ 304799 h 681037"/>
              <a:gd name="connsiteX9" fmla="*/ 552450 w 2243137"/>
              <a:gd name="connsiteY9" fmla="*/ 304799 h 681037"/>
              <a:gd name="connsiteX10" fmla="*/ 338137 w 2243137"/>
              <a:gd name="connsiteY10" fmla="*/ 242887 h 681037"/>
              <a:gd name="connsiteX11" fmla="*/ 0 w 2243137"/>
              <a:gd name="connsiteY11" fmla="*/ 0 h 681037"/>
              <a:gd name="connsiteX12" fmla="*/ 204787 w 2243137"/>
              <a:gd name="connsiteY12" fmla="*/ 428625 h 681037"/>
              <a:gd name="connsiteX0" fmla="*/ 204787 w 2243137"/>
              <a:gd name="connsiteY0" fmla="*/ 428625 h 681037"/>
              <a:gd name="connsiteX1" fmla="*/ 347662 w 2243137"/>
              <a:gd name="connsiteY1" fmla="*/ 581025 h 681037"/>
              <a:gd name="connsiteX2" fmla="*/ 561975 w 2243137"/>
              <a:gd name="connsiteY2" fmla="*/ 681037 h 681037"/>
              <a:gd name="connsiteX3" fmla="*/ 1852612 w 2243137"/>
              <a:gd name="connsiteY3" fmla="*/ 681037 h 681037"/>
              <a:gd name="connsiteX4" fmla="*/ 2119312 w 2243137"/>
              <a:gd name="connsiteY4" fmla="*/ 566737 h 681037"/>
              <a:gd name="connsiteX5" fmla="*/ 2243137 w 2243137"/>
              <a:gd name="connsiteY5" fmla="*/ 428625 h 681037"/>
              <a:gd name="connsiteX6" fmla="*/ 1624012 w 2243137"/>
              <a:gd name="connsiteY6" fmla="*/ 147637 h 681037"/>
              <a:gd name="connsiteX7" fmla="*/ 1462087 w 2243137"/>
              <a:gd name="connsiteY7" fmla="*/ 271462 h 681037"/>
              <a:gd name="connsiteX8" fmla="*/ 1304925 w 2243137"/>
              <a:gd name="connsiteY8" fmla="*/ 304799 h 681037"/>
              <a:gd name="connsiteX9" fmla="*/ 552450 w 2243137"/>
              <a:gd name="connsiteY9" fmla="*/ 304799 h 681037"/>
              <a:gd name="connsiteX10" fmla="*/ 338137 w 2243137"/>
              <a:gd name="connsiteY10" fmla="*/ 242887 h 681037"/>
              <a:gd name="connsiteX11" fmla="*/ 0 w 2243137"/>
              <a:gd name="connsiteY11" fmla="*/ 0 h 681037"/>
              <a:gd name="connsiteX12" fmla="*/ 204787 w 2243137"/>
              <a:gd name="connsiteY12" fmla="*/ 428625 h 681037"/>
              <a:gd name="connsiteX0" fmla="*/ 204787 w 2243137"/>
              <a:gd name="connsiteY0" fmla="*/ 428625 h 681037"/>
              <a:gd name="connsiteX1" fmla="*/ 347662 w 2243137"/>
              <a:gd name="connsiteY1" fmla="*/ 581025 h 681037"/>
              <a:gd name="connsiteX2" fmla="*/ 561975 w 2243137"/>
              <a:gd name="connsiteY2" fmla="*/ 681037 h 681037"/>
              <a:gd name="connsiteX3" fmla="*/ 1852612 w 2243137"/>
              <a:gd name="connsiteY3" fmla="*/ 681037 h 681037"/>
              <a:gd name="connsiteX4" fmla="*/ 2119312 w 2243137"/>
              <a:gd name="connsiteY4" fmla="*/ 566737 h 681037"/>
              <a:gd name="connsiteX5" fmla="*/ 2243137 w 2243137"/>
              <a:gd name="connsiteY5" fmla="*/ 428625 h 681037"/>
              <a:gd name="connsiteX6" fmla="*/ 1624012 w 2243137"/>
              <a:gd name="connsiteY6" fmla="*/ 147637 h 681037"/>
              <a:gd name="connsiteX7" fmla="*/ 1462087 w 2243137"/>
              <a:gd name="connsiteY7" fmla="*/ 271462 h 681037"/>
              <a:gd name="connsiteX8" fmla="*/ 1304925 w 2243137"/>
              <a:gd name="connsiteY8" fmla="*/ 304799 h 681037"/>
              <a:gd name="connsiteX9" fmla="*/ 552450 w 2243137"/>
              <a:gd name="connsiteY9" fmla="*/ 304799 h 681037"/>
              <a:gd name="connsiteX10" fmla="*/ 338137 w 2243137"/>
              <a:gd name="connsiteY10" fmla="*/ 242887 h 681037"/>
              <a:gd name="connsiteX11" fmla="*/ 0 w 2243137"/>
              <a:gd name="connsiteY11" fmla="*/ 0 h 681037"/>
              <a:gd name="connsiteX12" fmla="*/ 204787 w 2243137"/>
              <a:gd name="connsiteY12" fmla="*/ 428625 h 681037"/>
              <a:gd name="connsiteX0" fmla="*/ 204787 w 2243137"/>
              <a:gd name="connsiteY0" fmla="*/ 428625 h 694446"/>
              <a:gd name="connsiteX1" fmla="*/ 347662 w 2243137"/>
              <a:gd name="connsiteY1" fmla="*/ 581025 h 694446"/>
              <a:gd name="connsiteX2" fmla="*/ 561975 w 2243137"/>
              <a:gd name="connsiteY2" fmla="*/ 681037 h 694446"/>
              <a:gd name="connsiteX3" fmla="*/ 1852612 w 2243137"/>
              <a:gd name="connsiteY3" fmla="*/ 681037 h 694446"/>
              <a:gd name="connsiteX4" fmla="*/ 2119312 w 2243137"/>
              <a:gd name="connsiteY4" fmla="*/ 566737 h 694446"/>
              <a:gd name="connsiteX5" fmla="*/ 2243137 w 2243137"/>
              <a:gd name="connsiteY5" fmla="*/ 428625 h 694446"/>
              <a:gd name="connsiteX6" fmla="*/ 1624012 w 2243137"/>
              <a:gd name="connsiteY6" fmla="*/ 147637 h 694446"/>
              <a:gd name="connsiteX7" fmla="*/ 1462087 w 2243137"/>
              <a:gd name="connsiteY7" fmla="*/ 271462 h 694446"/>
              <a:gd name="connsiteX8" fmla="*/ 1304925 w 2243137"/>
              <a:gd name="connsiteY8" fmla="*/ 304799 h 694446"/>
              <a:gd name="connsiteX9" fmla="*/ 552450 w 2243137"/>
              <a:gd name="connsiteY9" fmla="*/ 304799 h 694446"/>
              <a:gd name="connsiteX10" fmla="*/ 338137 w 2243137"/>
              <a:gd name="connsiteY10" fmla="*/ 242887 h 694446"/>
              <a:gd name="connsiteX11" fmla="*/ 0 w 2243137"/>
              <a:gd name="connsiteY11" fmla="*/ 0 h 694446"/>
              <a:gd name="connsiteX12" fmla="*/ 204787 w 2243137"/>
              <a:gd name="connsiteY12" fmla="*/ 428625 h 694446"/>
              <a:gd name="connsiteX0" fmla="*/ 204787 w 2243137"/>
              <a:gd name="connsiteY0" fmla="*/ 428625 h 694446"/>
              <a:gd name="connsiteX1" fmla="*/ 347662 w 2243137"/>
              <a:gd name="connsiteY1" fmla="*/ 581025 h 694446"/>
              <a:gd name="connsiteX2" fmla="*/ 561975 w 2243137"/>
              <a:gd name="connsiteY2" fmla="*/ 681037 h 694446"/>
              <a:gd name="connsiteX3" fmla="*/ 1852612 w 2243137"/>
              <a:gd name="connsiteY3" fmla="*/ 681037 h 694446"/>
              <a:gd name="connsiteX4" fmla="*/ 2119312 w 2243137"/>
              <a:gd name="connsiteY4" fmla="*/ 566737 h 694446"/>
              <a:gd name="connsiteX5" fmla="*/ 2243137 w 2243137"/>
              <a:gd name="connsiteY5" fmla="*/ 428625 h 694446"/>
              <a:gd name="connsiteX6" fmla="*/ 1624012 w 2243137"/>
              <a:gd name="connsiteY6" fmla="*/ 147637 h 694446"/>
              <a:gd name="connsiteX7" fmla="*/ 1462087 w 2243137"/>
              <a:gd name="connsiteY7" fmla="*/ 271462 h 694446"/>
              <a:gd name="connsiteX8" fmla="*/ 1304925 w 2243137"/>
              <a:gd name="connsiteY8" fmla="*/ 304799 h 694446"/>
              <a:gd name="connsiteX9" fmla="*/ 552450 w 2243137"/>
              <a:gd name="connsiteY9" fmla="*/ 304799 h 694446"/>
              <a:gd name="connsiteX10" fmla="*/ 338137 w 2243137"/>
              <a:gd name="connsiteY10" fmla="*/ 242887 h 694446"/>
              <a:gd name="connsiteX11" fmla="*/ 0 w 2243137"/>
              <a:gd name="connsiteY11" fmla="*/ 0 h 694446"/>
              <a:gd name="connsiteX12" fmla="*/ 204787 w 2243137"/>
              <a:gd name="connsiteY12" fmla="*/ 428625 h 694446"/>
              <a:gd name="connsiteX0" fmla="*/ 428625 w 2466975"/>
              <a:gd name="connsiteY0" fmla="*/ 428625 h 694446"/>
              <a:gd name="connsiteX1" fmla="*/ 571500 w 2466975"/>
              <a:gd name="connsiteY1" fmla="*/ 581025 h 694446"/>
              <a:gd name="connsiteX2" fmla="*/ 785813 w 2466975"/>
              <a:gd name="connsiteY2" fmla="*/ 681037 h 694446"/>
              <a:gd name="connsiteX3" fmla="*/ 2076450 w 2466975"/>
              <a:gd name="connsiteY3" fmla="*/ 681037 h 694446"/>
              <a:gd name="connsiteX4" fmla="*/ 2343150 w 2466975"/>
              <a:gd name="connsiteY4" fmla="*/ 566737 h 694446"/>
              <a:gd name="connsiteX5" fmla="*/ 2466975 w 2466975"/>
              <a:gd name="connsiteY5" fmla="*/ 428625 h 694446"/>
              <a:gd name="connsiteX6" fmla="*/ 1847850 w 2466975"/>
              <a:gd name="connsiteY6" fmla="*/ 147637 h 694446"/>
              <a:gd name="connsiteX7" fmla="*/ 1685925 w 2466975"/>
              <a:gd name="connsiteY7" fmla="*/ 271462 h 694446"/>
              <a:gd name="connsiteX8" fmla="*/ 1528763 w 2466975"/>
              <a:gd name="connsiteY8" fmla="*/ 304799 h 694446"/>
              <a:gd name="connsiteX9" fmla="*/ 776288 w 2466975"/>
              <a:gd name="connsiteY9" fmla="*/ 304799 h 694446"/>
              <a:gd name="connsiteX10" fmla="*/ 561975 w 2466975"/>
              <a:gd name="connsiteY10" fmla="*/ 242887 h 694446"/>
              <a:gd name="connsiteX11" fmla="*/ 223838 w 2466975"/>
              <a:gd name="connsiteY11" fmla="*/ 0 h 694446"/>
              <a:gd name="connsiteX12" fmla="*/ 0 w 2466975"/>
              <a:gd name="connsiteY12" fmla="*/ 52386 h 694446"/>
              <a:gd name="connsiteX13" fmla="*/ 428625 w 2466975"/>
              <a:gd name="connsiteY13" fmla="*/ 428625 h 694446"/>
              <a:gd name="connsiteX0" fmla="*/ 428625 w 2466975"/>
              <a:gd name="connsiteY0" fmla="*/ 376239 h 642060"/>
              <a:gd name="connsiteX1" fmla="*/ 571500 w 2466975"/>
              <a:gd name="connsiteY1" fmla="*/ 528639 h 642060"/>
              <a:gd name="connsiteX2" fmla="*/ 785813 w 2466975"/>
              <a:gd name="connsiteY2" fmla="*/ 628651 h 642060"/>
              <a:gd name="connsiteX3" fmla="*/ 2076450 w 2466975"/>
              <a:gd name="connsiteY3" fmla="*/ 628651 h 642060"/>
              <a:gd name="connsiteX4" fmla="*/ 2343150 w 2466975"/>
              <a:gd name="connsiteY4" fmla="*/ 514351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561975 w 2466975"/>
              <a:gd name="connsiteY10" fmla="*/ 190501 h 642060"/>
              <a:gd name="connsiteX11" fmla="*/ 0 w 2466975"/>
              <a:gd name="connsiteY11" fmla="*/ 0 h 642060"/>
              <a:gd name="connsiteX12" fmla="*/ 428625 w 2466975"/>
              <a:gd name="connsiteY12" fmla="*/ 376239 h 642060"/>
              <a:gd name="connsiteX0" fmla="*/ 428625 w 2466975"/>
              <a:gd name="connsiteY0" fmla="*/ 376239 h 642060"/>
              <a:gd name="connsiteX1" fmla="*/ 571500 w 2466975"/>
              <a:gd name="connsiteY1" fmla="*/ 528639 h 642060"/>
              <a:gd name="connsiteX2" fmla="*/ 785813 w 2466975"/>
              <a:gd name="connsiteY2" fmla="*/ 628651 h 642060"/>
              <a:gd name="connsiteX3" fmla="*/ 2076450 w 2466975"/>
              <a:gd name="connsiteY3" fmla="*/ 628651 h 642060"/>
              <a:gd name="connsiteX4" fmla="*/ 2343150 w 2466975"/>
              <a:gd name="connsiteY4" fmla="*/ 514351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180975 w 2466975"/>
              <a:gd name="connsiteY10" fmla="*/ 61913 h 642060"/>
              <a:gd name="connsiteX11" fmla="*/ 0 w 2466975"/>
              <a:gd name="connsiteY11" fmla="*/ 0 h 642060"/>
              <a:gd name="connsiteX12" fmla="*/ 428625 w 2466975"/>
              <a:gd name="connsiteY12" fmla="*/ 376239 h 642060"/>
              <a:gd name="connsiteX0" fmla="*/ 428625 w 2466975"/>
              <a:gd name="connsiteY0" fmla="*/ 376239 h 642060"/>
              <a:gd name="connsiteX1" fmla="*/ 457200 w 2466975"/>
              <a:gd name="connsiteY1" fmla="*/ 409577 h 642060"/>
              <a:gd name="connsiteX2" fmla="*/ 785813 w 2466975"/>
              <a:gd name="connsiteY2" fmla="*/ 628651 h 642060"/>
              <a:gd name="connsiteX3" fmla="*/ 2076450 w 2466975"/>
              <a:gd name="connsiteY3" fmla="*/ 628651 h 642060"/>
              <a:gd name="connsiteX4" fmla="*/ 2343150 w 2466975"/>
              <a:gd name="connsiteY4" fmla="*/ 514351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180975 w 2466975"/>
              <a:gd name="connsiteY10" fmla="*/ 61913 h 642060"/>
              <a:gd name="connsiteX11" fmla="*/ 0 w 2466975"/>
              <a:gd name="connsiteY11" fmla="*/ 0 h 642060"/>
              <a:gd name="connsiteX12" fmla="*/ 428625 w 2466975"/>
              <a:gd name="connsiteY12" fmla="*/ 376239 h 642060"/>
              <a:gd name="connsiteX0" fmla="*/ 428625 w 2466975"/>
              <a:gd name="connsiteY0" fmla="*/ 376239 h 642060"/>
              <a:gd name="connsiteX1" fmla="*/ 457200 w 2466975"/>
              <a:gd name="connsiteY1" fmla="*/ 409577 h 642060"/>
              <a:gd name="connsiteX2" fmla="*/ 785813 w 2466975"/>
              <a:gd name="connsiteY2" fmla="*/ 628651 h 642060"/>
              <a:gd name="connsiteX3" fmla="*/ 2076450 w 2466975"/>
              <a:gd name="connsiteY3" fmla="*/ 628651 h 642060"/>
              <a:gd name="connsiteX4" fmla="*/ 2405062 w 2466975"/>
              <a:gd name="connsiteY4" fmla="*/ 452439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180975 w 2466975"/>
              <a:gd name="connsiteY10" fmla="*/ 61913 h 642060"/>
              <a:gd name="connsiteX11" fmla="*/ 0 w 2466975"/>
              <a:gd name="connsiteY11" fmla="*/ 0 h 642060"/>
              <a:gd name="connsiteX12" fmla="*/ 428625 w 2466975"/>
              <a:gd name="connsiteY12" fmla="*/ 376239 h 642060"/>
              <a:gd name="connsiteX0" fmla="*/ 428625 w 2466975"/>
              <a:gd name="connsiteY0" fmla="*/ 376239 h 642060"/>
              <a:gd name="connsiteX1" fmla="*/ 457200 w 2466975"/>
              <a:gd name="connsiteY1" fmla="*/ 409577 h 642060"/>
              <a:gd name="connsiteX2" fmla="*/ 785813 w 2466975"/>
              <a:gd name="connsiteY2" fmla="*/ 628651 h 642060"/>
              <a:gd name="connsiteX3" fmla="*/ 2076450 w 2466975"/>
              <a:gd name="connsiteY3" fmla="*/ 628651 h 642060"/>
              <a:gd name="connsiteX4" fmla="*/ 2405062 w 2466975"/>
              <a:gd name="connsiteY4" fmla="*/ 452439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180975 w 2466975"/>
              <a:gd name="connsiteY10" fmla="*/ 61913 h 642060"/>
              <a:gd name="connsiteX11" fmla="*/ 0 w 2466975"/>
              <a:gd name="connsiteY11" fmla="*/ 0 h 642060"/>
              <a:gd name="connsiteX12" fmla="*/ 428625 w 2466975"/>
              <a:gd name="connsiteY12" fmla="*/ 376239 h 642060"/>
              <a:gd name="connsiteX0" fmla="*/ 428625 w 2466975"/>
              <a:gd name="connsiteY0" fmla="*/ 376239 h 642060"/>
              <a:gd name="connsiteX1" fmla="*/ 457200 w 2466975"/>
              <a:gd name="connsiteY1" fmla="*/ 409577 h 642060"/>
              <a:gd name="connsiteX2" fmla="*/ 785813 w 2466975"/>
              <a:gd name="connsiteY2" fmla="*/ 628651 h 642060"/>
              <a:gd name="connsiteX3" fmla="*/ 2076450 w 2466975"/>
              <a:gd name="connsiteY3" fmla="*/ 628651 h 642060"/>
              <a:gd name="connsiteX4" fmla="*/ 2405062 w 2466975"/>
              <a:gd name="connsiteY4" fmla="*/ 452439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180975 w 2466975"/>
              <a:gd name="connsiteY10" fmla="*/ 61913 h 642060"/>
              <a:gd name="connsiteX11" fmla="*/ 0 w 2466975"/>
              <a:gd name="connsiteY11" fmla="*/ 0 h 642060"/>
              <a:gd name="connsiteX12" fmla="*/ 428625 w 2466975"/>
              <a:gd name="connsiteY12" fmla="*/ 376239 h 642060"/>
              <a:gd name="connsiteX0" fmla="*/ 428625 w 2466975"/>
              <a:gd name="connsiteY0" fmla="*/ 376239 h 642060"/>
              <a:gd name="connsiteX1" fmla="*/ 457200 w 2466975"/>
              <a:gd name="connsiteY1" fmla="*/ 409577 h 642060"/>
              <a:gd name="connsiteX2" fmla="*/ 785813 w 2466975"/>
              <a:gd name="connsiteY2" fmla="*/ 628651 h 642060"/>
              <a:gd name="connsiteX3" fmla="*/ 2076450 w 2466975"/>
              <a:gd name="connsiteY3" fmla="*/ 628651 h 642060"/>
              <a:gd name="connsiteX4" fmla="*/ 2405062 w 2466975"/>
              <a:gd name="connsiteY4" fmla="*/ 452439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180975 w 2466975"/>
              <a:gd name="connsiteY10" fmla="*/ 61913 h 642060"/>
              <a:gd name="connsiteX11" fmla="*/ 0 w 2466975"/>
              <a:gd name="connsiteY11" fmla="*/ 0 h 642060"/>
              <a:gd name="connsiteX12" fmla="*/ 428625 w 2466975"/>
              <a:gd name="connsiteY12" fmla="*/ 376239 h 642060"/>
              <a:gd name="connsiteX0" fmla="*/ 428625 w 2466975"/>
              <a:gd name="connsiteY0" fmla="*/ 376239 h 642060"/>
              <a:gd name="connsiteX1" fmla="*/ 457200 w 2466975"/>
              <a:gd name="connsiteY1" fmla="*/ 409577 h 642060"/>
              <a:gd name="connsiteX2" fmla="*/ 785813 w 2466975"/>
              <a:gd name="connsiteY2" fmla="*/ 628651 h 642060"/>
              <a:gd name="connsiteX3" fmla="*/ 2076450 w 2466975"/>
              <a:gd name="connsiteY3" fmla="*/ 628651 h 642060"/>
              <a:gd name="connsiteX4" fmla="*/ 2405062 w 2466975"/>
              <a:gd name="connsiteY4" fmla="*/ 452439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180975 w 2466975"/>
              <a:gd name="connsiteY10" fmla="*/ 61913 h 642060"/>
              <a:gd name="connsiteX11" fmla="*/ 0 w 2466975"/>
              <a:gd name="connsiteY11" fmla="*/ 0 h 642060"/>
              <a:gd name="connsiteX12" fmla="*/ 428625 w 2466975"/>
              <a:gd name="connsiteY12" fmla="*/ 376239 h 642060"/>
              <a:gd name="connsiteX0" fmla="*/ 428625 w 2466975"/>
              <a:gd name="connsiteY0" fmla="*/ 376239 h 642060"/>
              <a:gd name="connsiteX1" fmla="*/ 457200 w 2466975"/>
              <a:gd name="connsiteY1" fmla="*/ 409577 h 642060"/>
              <a:gd name="connsiteX2" fmla="*/ 785813 w 2466975"/>
              <a:gd name="connsiteY2" fmla="*/ 628651 h 642060"/>
              <a:gd name="connsiteX3" fmla="*/ 2076450 w 2466975"/>
              <a:gd name="connsiteY3" fmla="*/ 628651 h 642060"/>
              <a:gd name="connsiteX4" fmla="*/ 2405062 w 2466975"/>
              <a:gd name="connsiteY4" fmla="*/ 452439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180975 w 2466975"/>
              <a:gd name="connsiteY10" fmla="*/ 61913 h 642060"/>
              <a:gd name="connsiteX11" fmla="*/ 0 w 2466975"/>
              <a:gd name="connsiteY11" fmla="*/ 0 h 642060"/>
              <a:gd name="connsiteX12" fmla="*/ 428625 w 2466975"/>
              <a:gd name="connsiteY12" fmla="*/ 376239 h 642060"/>
              <a:gd name="connsiteX0" fmla="*/ 428625 w 2466975"/>
              <a:gd name="connsiteY0" fmla="*/ 377540 h 643361"/>
              <a:gd name="connsiteX1" fmla="*/ 457200 w 2466975"/>
              <a:gd name="connsiteY1" fmla="*/ 410878 h 643361"/>
              <a:gd name="connsiteX2" fmla="*/ 785813 w 2466975"/>
              <a:gd name="connsiteY2" fmla="*/ 629952 h 643361"/>
              <a:gd name="connsiteX3" fmla="*/ 2076450 w 2466975"/>
              <a:gd name="connsiteY3" fmla="*/ 629952 h 643361"/>
              <a:gd name="connsiteX4" fmla="*/ 2405062 w 2466975"/>
              <a:gd name="connsiteY4" fmla="*/ 453740 h 643361"/>
              <a:gd name="connsiteX5" fmla="*/ 2466975 w 2466975"/>
              <a:gd name="connsiteY5" fmla="*/ 377540 h 643361"/>
              <a:gd name="connsiteX6" fmla="*/ 1847850 w 2466975"/>
              <a:gd name="connsiteY6" fmla="*/ 96552 h 643361"/>
              <a:gd name="connsiteX7" fmla="*/ 1685925 w 2466975"/>
              <a:gd name="connsiteY7" fmla="*/ 220377 h 643361"/>
              <a:gd name="connsiteX8" fmla="*/ 1528763 w 2466975"/>
              <a:gd name="connsiteY8" fmla="*/ 253714 h 643361"/>
              <a:gd name="connsiteX9" fmla="*/ 776288 w 2466975"/>
              <a:gd name="connsiteY9" fmla="*/ 253714 h 643361"/>
              <a:gd name="connsiteX10" fmla="*/ 0 w 2466975"/>
              <a:gd name="connsiteY10" fmla="*/ 1301 h 643361"/>
              <a:gd name="connsiteX11" fmla="*/ 428625 w 2466975"/>
              <a:gd name="connsiteY11" fmla="*/ 377540 h 643361"/>
              <a:gd name="connsiteX0" fmla="*/ 428625 w 2466975"/>
              <a:gd name="connsiteY0" fmla="*/ 377744 h 643565"/>
              <a:gd name="connsiteX1" fmla="*/ 457200 w 2466975"/>
              <a:gd name="connsiteY1" fmla="*/ 411082 h 643565"/>
              <a:gd name="connsiteX2" fmla="*/ 785813 w 2466975"/>
              <a:gd name="connsiteY2" fmla="*/ 630156 h 643565"/>
              <a:gd name="connsiteX3" fmla="*/ 2076450 w 2466975"/>
              <a:gd name="connsiteY3" fmla="*/ 630156 h 643565"/>
              <a:gd name="connsiteX4" fmla="*/ 2405062 w 2466975"/>
              <a:gd name="connsiteY4" fmla="*/ 453944 h 643565"/>
              <a:gd name="connsiteX5" fmla="*/ 2466975 w 2466975"/>
              <a:gd name="connsiteY5" fmla="*/ 377744 h 643565"/>
              <a:gd name="connsiteX6" fmla="*/ 1847850 w 2466975"/>
              <a:gd name="connsiteY6" fmla="*/ 96756 h 643565"/>
              <a:gd name="connsiteX7" fmla="*/ 1685925 w 2466975"/>
              <a:gd name="connsiteY7" fmla="*/ 220581 h 643565"/>
              <a:gd name="connsiteX8" fmla="*/ 1528763 w 2466975"/>
              <a:gd name="connsiteY8" fmla="*/ 253918 h 643565"/>
              <a:gd name="connsiteX9" fmla="*/ 542925 w 2466975"/>
              <a:gd name="connsiteY9" fmla="*/ 220581 h 643565"/>
              <a:gd name="connsiteX10" fmla="*/ 0 w 2466975"/>
              <a:gd name="connsiteY10" fmla="*/ 1505 h 643565"/>
              <a:gd name="connsiteX11" fmla="*/ 428625 w 2466975"/>
              <a:gd name="connsiteY11" fmla="*/ 377744 h 643565"/>
              <a:gd name="connsiteX0" fmla="*/ 428625 w 2466975"/>
              <a:gd name="connsiteY0" fmla="*/ 377744 h 643565"/>
              <a:gd name="connsiteX1" fmla="*/ 457200 w 2466975"/>
              <a:gd name="connsiteY1" fmla="*/ 411082 h 643565"/>
              <a:gd name="connsiteX2" fmla="*/ 785813 w 2466975"/>
              <a:gd name="connsiteY2" fmla="*/ 630156 h 643565"/>
              <a:gd name="connsiteX3" fmla="*/ 2076450 w 2466975"/>
              <a:gd name="connsiteY3" fmla="*/ 630156 h 643565"/>
              <a:gd name="connsiteX4" fmla="*/ 2405062 w 2466975"/>
              <a:gd name="connsiteY4" fmla="*/ 453944 h 643565"/>
              <a:gd name="connsiteX5" fmla="*/ 2466975 w 2466975"/>
              <a:gd name="connsiteY5" fmla="*/ 377744 h 643565"/>
              <a:gd name="connsiteX6" fmla="*/ 1847850 w 2466975"/>
              <a:gd name="connsiteY6" fmla="*/ 96756 h 643565"/>
              <a:gd name="connsiteX7" fmla="*/ 1785938 w 2466975"/>
              <a:gd name="connsiteY7" fmla="*/ 144381 h 643565"/>
              <a:gd name="connsiteX8" fmla="*/ 1528763 w 2466975"/>
              <a:gd name="connsiteY8" fmla="*/ 253918 h 643565"/>
              <a:gd name="connsiteX9" fmla="*/ 542925 w 2466975"/>
              <a:gd name="connsiteY9" fmla="*/ 220581 h 643565"/>
              <a:gd name="connsiteX10" fmla="*/ 0 w 2466975"/>
              <a:gd name="connsiteY10" fmla="*/ 1505 h 643565"/>
              <a:gd name="connsiteX11" fmla="*/ 428625 w 2466975"/>
              <a:gd name="connsiteY11" fmla="*/ 377744 h 643565"/>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1847850 w 2466975"/>
              <a:gd name="connsiteY6" fmla="*/ 96579 h 643388"/>
              <a:gd name="connsiteX7" fmla="*/ 1785938 w 2466975"/>
              <a:gd name="connsiteY7" fmla="*/ 144204 h 643388"/>
              <a:gd name="connsiteX8" fmla="*/ 1528763 w 2466975"/>
              <a:gd name="connsiteY8" fmla="*/ 253741 h 643388"/>
              <a:gd name="connsiteX9" fmla="*/ 395288 w 2466975"/>
              <a:gd name="connsiteY9" fmla="*/ 248979 h 643388"/>
              <a:gd name="connsiteX10" fmla="*/ 0 w 2466975"/>
              <a:gd name="connsiteY10" fmla="*/ 1328 h 643388"/>
              <a:gd name="connsiteX11" fmla="*/ 428625 w 2466975"/>
              <a:gd name="connsiteY11"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1785938 w 2466975"/>
              <a:gd name="connsiteY7" fmla="*/ 144204 h 643388"/>
              <a:gd name="connsiteX8" fmla="*/ 1528763 w 2466975"/>
              <a:gd name="connsiteY8" fmla="*/ 253741 h 643388"/>
              <a:gd name="connsiteX9" fmla="*/ 395288 w 2466975"/>
              <a:gd name="connsiteY9" fmla="*/ 248979 h 643388"/>
              <a:gd name="connsiteX10" fmla="*/ 0 w 2466975"/>
              <a:gd name="connsiteY10" fmla="*/ 1328 h 643388"/>
              <a:gd name="connsiteX11" fmla="*/ 428625 w 2466975"/>
              <a:gd name="connsiteY11"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1905000 w 2466975"/>
              <a:gd name="connsiteY7" fmla="*/ 182304 h 643388"/>
              <a:gd name="connsiteX8" fmla="*/ 1528763 w 2466975"/>
              <a:gd name="connsiteY8" fmla="*/ 253741 h 643388"/>
              <a:gd name="connsiteX9" fmla="*/ 395288 w 2466975"/>
              <a:gd name="connsiteY9" fmla="*/ 248979 h 643388"/>
              <a:gd name="connsiteX10" fmla="*/ 0 w 2466975"/>
              <a:gd name="connsiteY10" fmla="*/ 1328 h 643388"/>
              <a:gd name="connsiteX11" fmla="*/ 428625 w 2466975"/>
              <a:gd name="connsiteY11"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1936750 w 2466975"/>
              <a:gd name="connsiteY7" fmla="*/ 134548 h 643388"/>
              <a:gd name="connsiteX8" fmla="*/ 1905000 w 2466975"/>
              <a:gd name="connsiteY8" fmla="*/ 182304 h 643388"/>
              <a:gd name="connsiteX9" fmla="*/ 1528763 w 2466975"/>
              <a:gd name="connsiteY9" fmla="*/ 253741 h 643388"/>
              <a:gd name="connsiteX10" fmla="*/ 395288 w 2466975"/>
              <a:gd name="connsiteY10" fmla="*/ 248979 h 643388"/>
              <a:gd name="connsiteX11" fmla="*/ 0 w 2466975"/>
              <a:gd name="connsiteY11" fmla="*/ 1328 h 643388"/>
              <a:gd name="connsiteX12" fmla="*/ 428625 w 2466975"/>
              <a:gd name="connsiteY12"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1936750 w 2466975"/>
              <a:gd name="connsiteY7" fmla="*/ 134548 h 643388"/>
              <a:gd name="connsiteX8" fmla="*/ 1857375 w 2466975"/>
              <a:gd name="connsiteY8" fmla="*/ 201354 h 643388"/>
              <a:gd name="connsiteX9" fmla="*/ 1528763 w 2466975"/>
              <a:gd name="connsiteY9" fmla="*/ 253741 h 643388"/>
              <a:gd name="connsiteX10" fmla="*/ 395288 w 2466975"/>
              <a:gd name="connsiteY10" fmla="*/ 248979 h 643388"/>
              <a:gd name="connsiteX11" fmla="*/ 0 w 2466975"/>
              <a:gd name="connsiteY11" fmla="*/ 1328 h 643388"/>
              <a:gd name="connsiteX12" fmla="*/ 428625 w 2466975"/>
              <a:gd name="connsiteY12"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2003425 w 2466975"/>
              <a:gd name="connsiteY7" fmla="*/ 53585 h 643388"/>
              <a:gd name="connsiteX8" fmla="*/ 1857375 w 2466975"/>
              <a:gd name="connsiteY8" fmla="*/ 201354 h 643388"/>
              <a:gd name="connsiteX9" fmla="*/ 1528763 w 2466975"/>
              <a:gd name="connsiteY9" fmla="*/ 253741 h 643388"/>
              <a:gd name="connsiteX10" fmla="*/ 395288 w 2466975"/>
              <a:gd name="connsiteY10" fmla="*/ 248979 h 643388"/>
              <a:gd name="connsiteX11" fmla="*/ 0 w 2466975"/>
              <a:gd name="connsiteY11" fmla="*/ 1328 h 643388"/>
              <a:gd name="connsiteX12" fmla="*/ 428625 w 2466975"/>
              <a:gd name="connsiteY12"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2003425 w 2466975"/>
              <a:gd name="connsiteY7" fmla="*/ 53585 h 643388"/>
              <a:gd name="connsiteX8" fmla="*/ 1927225 w 2466975"/>
              <a:gd name="connsiteY8" fmla="*/ 129785 h 643388"/>
              <a:gd name="connsiteX9" fmla="*/ 1857375 w 2466975"/>
              <a:gd name="connsiteY9" fmla="*/ 201354 h 643388"/>
              <a:gd name="connsiteX10" fmla="*/ 1528763 w 2466975"/>
              <a:gd name="connsiteY10" fmla="*/ 253741 h 643388"/>
              <a:gd name="connsiteX11" fmla="*/ 395288 w 2466975"/>
              <a:gd name="connsiteY11" fmla="*/ 248979 h 643388"/>
              <a:gd name="connsiteX12" fmla="*/ 0 w 2466975"/>
              <a:gd name="connsiteY12" fmla="*/ 1328 h 643388"/>
              <a:gd name="connsiteX13" fmla="*/ 428625 w 2466975"/>
              <a:gd name="connsiteY13"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2003425 w 2466975"/>
              <a:gd name="connsiteY7" fmla="*/ 53585 h 643388"/>
              <a:gd name="connsiteX8" fmla="*/ 1857375 w 2466975"/>
              <a:gd name="connsiteY8" fmla="*/ 201354 h 643388"/>
              <a:gd name="connsiteX9" fmla="*/ 1528763 w 2466975"/>
              <a:gd name="connsiteY9" fmla="*/ 253741 h 643388"/>
              <a:gd name="connsiteX10" fmla="*/ 395288 w 2466975"/>
              <a:gd name="connsiteY10" fmla="*/ 248979 h 643388"/>
              <a:gd name="connsiteX11" fmla="*/ 0 w 2466975"/>
              <a:gd name="connsiteY11" fmla="*/ 1328 h 643388"/>
              <a:gd name="connsiteX12" fmla="*/ 428625 w 2466975"/>
              <a:gd name="connsiteY12"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2003425 w 2466975"/>
              <a:gd name="connsiteY7" fmla="*/ 53585 h 643388"/>
              <a:gd name="connsiteX8" fmla="*/ 1795463 w 2466975"/>
              <a:gd name="connsiteY8" fmla="*/ 220404 h 643388"/>
              <a:gd name="connsiteX9" fmla="*/ 1528763 w 2466975"/>
              <a:gd name="connsiteY9" fmla="*/ 253741 h 643388"/>
              <a:gd name="connsiteX10" fmla="*/ 395288 w 2466975"/>
              <a:gd name="connsiteY10" fmla="*/ 248979 h 643388"/>
              <a:gd name="connsiteX11" fmla="*/ 0 w 2466975"/>
              <a:gd name="connsiteY11" fmla="*/ 1328 h 643388"/>
              <a:gd name="connsiteX12" fmla="*/ 428625 w 2466975"/>
              <a:gd name="connsiteY12"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2003425 w 2466975"/>
              <a:gd name="connsiteY7" fmla="*/ 53585 h 643388"/>
              <a:gd name="connsiteX8" fmla="*/ 1795463 w 2466975"/>
              <a:gd name="connsiteY8" fmla="*/ 220404 h 643388"/>
              <a:gd name="connsiteX9" fmla="*/ 1528763 w 2466975"/>
              <a:gd name="connsiteY9" fmla="*/ 253741 h 643388"/>
              <a:gd name="connsiteX10" fmla="*/ 395288 w 2466975"/>
              <a:gd name="connsiteY10" fmla="*/ 248979 h 643388"/>
              <a:gd name="connsiteX11" fmla="*/ 0 w 2466975"/>
              <a:gd name="connsiteY11" fmla="*/ 1328 h 643388"/>
              <a:gd name="connsiteX12" fmla="*/ 428625 w 2466975"/>
              <a:gd name="connsiteY12"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2003425 w 2466975"/>
              <a:gd name="connsiteY7" fmla="*/ 53585 h 643388"/>
              <a:gd name="connsiteX8" fmla="*/ 1795463 w 2466975"/>
              <a:gd name="connsiteY8" fmla="*/ 220404 h 643388"/>
              <a:gd name="connsiteX9" fmla="*/ 395288 w 2466975"/>
              <a:gd name="connsiteY9" fmla="*/ 248979 h 643388"/>
              <a:gd name="connsiteX10" fmla="*/ 0 w 2466975"/>
              <a:gd name="connsiteY10" fmla="*/ 1328 h 643388"/>
              <a:gd name="connsiteX11" fmla="*/ 428625 w 2466975"/>
              <a:gd name="connsiteY11"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2003425 w 2466975"/>
              <a:gd name="connsiteY7" fmla="*/ 53585 h 643388"/>
              <a:gd name="connsiteX8" fmla="*/ 1762126 w 2466975"/>
              <a:gd name="connsiteY8" fmla="*/ 220404 h 643388"/>
              <a:gd name="connsiteX9" fmla="*/ 395288 w 2466975"/>
              <a:gd name="connsiteY9" fmla="*/ 248979 h 643388"/>
              <a:gd name="connsiteX10" fmla="*/ 0 w 2466975"/>
              <a:gd name="connsiteY10" fmla="*/ 1328 h 643388"/>
              <a:gd name="connsiteX11" fmla="*/ 428625 w 2466975"/>
              <a:gd name="connsiteY11"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1979613 w 2466975"/>
              <a:gd name="connsiteY7" fmla="*/ 129785 h 643388"/>
              <a:gd name="connsiteX8" fmla="*/ 1762126 w 2466975"/>
              <a:gd name="connsiteY8" fmla="*/ 220404 h 643388"/>
              <a:gd name="connsiteX9" fmla="*/ 395288 w 2466975"/>
              <a:gd name="connsiteY9" fmla="*/ 248979 h 643388"/>
              <a:gd name="connsiteX10" fmla="*/ 0 w 2466975"/>
              <a:gd name="connsiteY10" fmla="*/ 1328 h 643388"/>
              <a:gd name="connsiteX11" fmla="*/ 428625 w 2466975"/>
              <a:gd name="connsiteY11" fmla="*/ 377567 h 64338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52638 w 2466975"/>
              <a:gd name="connsiteY6" fmla="*/ 1329 h 646118"/>
              <a:gd name="connsiteX7" fmla="*/ 1979613 w 2466975"/>
              <a:gd name="connsiteY7" fmla="*/ 129785 h 646118"/>
              <a:gd name="connsiteX8" fmla="*/ 1762126 w 2466975"/>
              <a:gd name="connsiteY8" fmla="*/ 220404 h 646118"/>
              <a:gd name="connsiteX9" fmla="*/ 395288 w 2466975"/>
              <a:gd name="connsiteY9" fmla="*/ 248979 h 646118"/>
              <a:gd name="connsiteX10" fmla="*/ 0 w 2466975"/>
              <a:gd name="connsiteY10" fmla="*/ 1328 h 646118"/>
              <a:gd name="connsiteX11" fmla="*/ 428625 w 2466975"/>
              <a:gd name="connsiteY11"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52638 w 2466975"/>
              <a:gd name="connsiteY6" fmla="*/ 1329 h 646118"/>
              <a:gd name="connsiteX7" fmla="*/ 1979613 w 2466975"/>
              <a:gd name="connsiteY7" fmla="*/ 129785 h 646118"/>
              <a:gd name="connsiteX8" fmla="*/ 1647826 w 2466975"/>
              <a:gd name="connsiteY8" fmla="*/ 239454 h 646118"/>
              <a:gd name="connsiteX9" fmla="*/ 395288 w 2466975"/>
              <a:gd name="connsiteY9" fmla="*/ 248979 h 646118"/>
              <a:gd name="connsiteX10" fmla="*/ 0 w 2466975"/>
              <a:gd name="connsiteY10" fmla="*/ 1328 h 646118"/>
              <a:gd name="connsiteX11" fmla="*/ 428625 w 2466975"/>
              <a:gd name="connsiteY11"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52638 w 2466975"/>
              <a:gd name="connsiteY6" fmla="*/ 1329 h 646118"/>
              <a:gd name="connsiteX7" fmla="*/ 2008188 w 2466975"/>
              <a:gd name="connsiteY7" fmla="*/ 82160 h 646118"/>
              <a:gd name="connsiteX8" fmla="*/ 1647826 w 2466975"/>
              <a:gd name="connsiteY8" fmla="*/ 239454 h 646118"/>
              <a:gd name="connsiteX9" fmla="*/ 395288 w 2466975"/>
              <a:gd name="connsiteY9" fmla="*/ 248979 h 646118"/>
              <a:gd name="connsiteX10" fmla="*/ 0 w 2466975"/>
              <a:gd name="connsiteY10" fmla="*/ 1328 h 646118"/>
              <a:gd name="connsiteX11" fmla="*/ 428625 w 2466975"/>
              <a:gd name="connsiteY11"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52638 w 2466975"/>
              <a:gd name="connsiteY6" fmla="*/ 1329 h 646118"/>
              <a:gd name="connsiteX7" fmla="*/ 2008188 w 2466975"/>
              <a:gd name="connsiteY7" fmla="*/ 82160 h 646118"/>
              <a:gd name="connsiteX8" fmla="*/ 1803400 w 2466975"/>
              <a:gd name="connsiteY8" fmla="*/ 172648 h 646118"/>
              <a:gd name="connsiteX9" fmla="*/ 1647826 w 2466975"/>
              <a:gd name="connsiteY9" fmla="*/ 239454 h 646118"/>
              <a:gd name="connsiteX10" fmla="*/ 395288 w 2466975"/>
              <a:gd name="connsiteY10" fmla="*/ 248979 h 646118"/>
              <a:gd name="connsiteX11" fmla="*/ 0 w 2466975"/>
              <a:gd name="connsiteY11" fmla="*/ 1328 h 646118"/>
              <a:gd name="connsiteX12" fmla="*/ 428625 w 2466975"/>
              <a:gd name="connsiteY12"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52638 w 2466975"/>
              <a:gd name="connsiteY6" fmla="*/ 1329 h 646118"/>
              <a:gd name="connsiteX7" fmla="*/ 2008188 w 2466975"/>
              <a:gd name="connsiteY7" fmla="*/ 82160 h 646118"/>
              <a:gd name="connsiteX8" fmla="*/ 1860550 w 2466975"/>
              <a:gd name="connsiteY8" fmla="*/ 201223 h 646118"/>
              <a:gd name="connsiteX9" fmla="*/ 1647826 w 2466975"/>
              <a:gd name="connsiteY9" fmla="*/ 239454 h 646118"/>
              <a:gd name="connsiteX10" fmla="*/ 395288 w 2466975"/>
              <a:gd name="connsiteY10" fmla="*/ 248979 h 646118"/>
              <a:gd name="connsiteX11" fmla="*/ 0 w 2466975"/>
              <a:gd name="connsiteY11" fmla="*/ 1328 h 646118"/>
              <a:gd name="connsiteX12" fmla="*/ 428625 w 2466975"/>
              <a:gd name="connsiteY12"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52638 w 2466975"/>
              <a:gd name="connsiteY6" fmla="*/ 1329 h 646118"/>
              <a:gd name="connsiteX7" fmla="*/ 2008188 w 2466975"/>
              <a:gd name="connsiteY7" fmla="*/ 82160 h 646118"/>
              <a:gd name="connsiteX8" fmla="*/ 1647826 w 2466975"/>
              <a:gd name="connsiteY8" fmla="*/ 239454 h 646118"/>
              <a:gd name="connsiteX9" fmla="*/ 395288 w 2466975"/>
              <a:gd name="connsiteY9" fmla="*/ 248979 h 646118"/>
              <a:gd name="connsiteX10" fmla="*/ 0 w 2466975"/>
              <a:gd name="connsiteY10" fmla="*/ 1328 h 646118"/>
              <a:gd name="connsiteX11" fmla="*/ 428625 w 2466975"/>
              <a:gd name="connsiteY11"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52638 w 2466975"/>
              <a:gd name="connsiteY6" fmla="*/ 1329 h 646118"/>
              <a:gd name="connsiteX7" fmla="*/ 1974851 w 2466975"/>
              <a:gd name="connsiteY7" fmla="*/ 91685 h 646118"/>
              <a:gd name="connsiteX8" fmla="*/ 1647826 w 2466975"/>
              <a:gd name="connsiteY8" fmla="*/ 239454 h 646118"/>
              <a:gd name="connsiteX9" fmla="*/ 395288 w 2466975"/>
              <a:gd name="connsiteY9" fmla="*/ 248979 h 646118"/>
              <a:gd name="connsiteX10" fmla="*/ 0 w 2466975"/>
              <a:gd name="connsiteY10" fmla="*/ 1328 h 646118"/>
              <a:gd name="connsiteX11" fmla="*/ 428625 w 2466975"/>
              <a:gd name="connsiteY11"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52638 w 2466975"/>
              <a:gd name="connsiteY6" fmla="*/ 1329 h 646118"/>
              <a:gd name="connsiteX7" fmla="*/ 1989138 w 2466975"/>
              <a:gd name="connsiteY7" fmla="*/ 105972 h 646118"/>
              <a:gd name="connsiteX8" fmla="*/ 1647826 w 2466975"/>
              <a:gd name="connsiteY8" fmla="*/ 239454 h 646118"/>
              <a:gd name="connsiteX9" fmla="*/ 395288 w 2466975"/>
              <a:gd name="connsiteY9" fmla="*/ 248979 h 646118"/>
              <a:gd name="connsiteX10" fmla="*/ 0 w 2466975"/>
              <a:gd name="connsiteY10" fmla="*/ 1328 h 646118"/>
              <a:gd name="connsiteX11" fmla="*/ 428625 w 2466975"/>
              <a:gd name="connsiteY11"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78831 w 2466975"/>
              <a:gd name="connsiteY6" fmla="*/ 29904 h 646118"/>
              <a:gd name="connsiteX7" fmla="*/ 1989138 w 2466975"/>
              <a:gd name="connsiteY7" fmla="*/ 105972 h 646118"/>
              <a:gd name="connsiteX8" fmla="*/ 1647826 w 2466975"/>
              <a:gd name="connsiteY8" fmla="*/ 239454 h 646118"/>
              <a:gd name="connsiteX9" fmla="*/ 395288 w 2466975"/>
              <a:gd name="connsiteY9" fmla="*/ 248979 h 646118"/>
              <a:gd name="connsiteX10" fmla="*/ 0 w 2466975"/>
              <a:gd name="connsiteY10" fmla="*/ 1328 h 646118"/>
              <a:gd name="connsiteX11" fmla="*/ 428625 w 2466975"/>
              <a:gd name="connsiteY11"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66925 w 2466975"/>
              <a:gd name="connsiteY6" fmla="*/ 8472 h 646118"/>
              <a:gd name="connsiteX7" fmla="*/ 1989138 w 2466975"/>
              <a:gd name="connsiteY7" fmla="*/ 105972 h 646118"/>
              <a:gd name="connsiteX8" fmla="*/ 1647826 w 2466975"/>
              <a:gd name="connsiteY8" fmla="*/ 239454 h 646118"/>
              <a:gd name="connsiteX9" fmla="*/ 395288 w 2466975"/>
              <a:gd name="connsiteY9" fmla="*/ 248979 h 646118"/>
              <a:gd name="connsiteX10" fmla="*/ 0 w 2466975"/>
              <a:gd name="connsiteY10" fmla="*/ 1328 h 646118"/>
              <a:gd name="connsiteX11" fmla="*/ 428625 w 2466975"/>
              <a:gd name="connsiteY11" fmla="*/ 377567 h 646118"/>
              <a:gd name="connsiteX0" fmla="*/ 455120 w 2493470"/>
              <a:gd name="connsiteY0" fmla="*/ 402222 h 670773"/>
              <a:gd name="connsiteX1" fmla="*/ 483695 w 2493470"/>
              <a:gd name="connsiteY1" fmla="*/ 435560 h 670773"/>
              <a:gd name="connsiteX2" fmla="*/ 812308 w 2493470"/>
              <a:gd name="connsiteY2" fmla="*/ 654634 h 670773"/>
              <a:gd name="connsiteX3" fmla="*/ 2036270 w 2493470"/>
              <a:gd name="connsiteY3" fmla="*/ 659397 h 670773"/>
              <a:gd name="connsiteX4" fmla="*/ 2431557 w 2493470"/>
              <a:gd name="connsiteY4" fmla="*/ 478422 h 670773"/>
              <a:gd name="connsiteX5" fmla="*/ 2493470 w 2493470"/>
              <a:gd name="connsiteY5" fmla="*/ 402222 h 670773"/>
              <a:gd name="connsiteX6" fmla="*/ 2093420 w 2493470"/>
              <a:gd name="connsiteY6" fmla="*/ 33127 h 670773"/>
              <a:gd name="connsiteX7" fmla="*/ 2015633 w 2493470"/>
              <a:gd name="connsiteY7" fmla="*/ 130627 h 670773"/>
              <a:gd name="connsiteX8" fmla="*/ 1674321 w 2493470"/>
              <a:gd name="connsiteY8" fmla="*/ 264109 h 670773"/>
              <a:gd name="connsiteX9" fmla="*/ 421783 w 2493470"/>
              <a:gd name="connsiteY9" fmla="*/ 273634 h 670773"/>
              <a:gd name="connsiteX10" fmla="*/ 86820 w 2493470"/>
              <a:gd name="connsiteY10" fmla="*/ 59190 h 670773"/>
              <a:gd name="connsiteX11" fmla="*/ 26495 w 2493470"/>
              <a:gd name="connsiteY11" fmla="*/ 25983 h 670773"/>
              <a:gd name="connsiteX12" fmla="*/ 455120 w 2493470"/>
              <a:gd name="connsiteY12" fmla="*/ 402222 h 670773"/>
              <a:gd name="connsiteX0" fmla="*/ 428625 w 2466975"/>
              <a:gd name="connsiteY0" fmla="*/ 376239 h 644790"/>
              <a:gd name="connsiteX1" fmla="*/ 457200 w 2466975"/>
              <a:gd name="connsiteY1" fmla="*/ 409577 h 644790"/>
              <a:gd name="connsiteX2" fmla="*/ 785813 w 2466975"/>
              <a:gd name="connsiteY2" fmla="*/ 628651 h 644790"/>
              <a:gd name="connsiteX3" fmla="*/ 2009775 w 2466975"/>
              <a:gd name="connsiteY3" fmla="*/ 633414 h 644790"/>
              <a:gd name="connsiteX4" fmla="*/ 2405062 w 2466975"/>
              <a:gd name="connsiteY4" fmla="*/ 452439 h 644790"/>
              <a:gd name="connsiteX5" fmla="*/ 2466975 w 2466975"/>
              <a:gd name="connsiteY5" fmla="*/ 376239 h 644790"/>
              <a:gd name="connsiteX6" fmla="*/ 2066925 w 2466975"/>
              <a:gd name="connsiteY6" fmla="*/ 7144 h 644790"/>
              <a:gd name="connsiteX7" fmla="*/ 1989138 w 2466975"/>
              <a:gd name="connsiteY7" fmla="*/ 104644 h 644790"/>
              <a:gd name="connsiteX8" fmla="*/ 1647826 w 2466975"/>
              <a:gd name="connsiteY8" fmla="*/ 238126 h 644790"/>
              <a:gd name="connsiteX9" fmla="*/ 395288 w 2466975"/>
              <a:gd name="connsiteY9" fmla="*/ 247651 h 644790"/>
              <a:gd name="connsiteX10" fmla="*/ 60325 w 2466975"/>
              <a:gd name="connsiteY10" fmla="*/ 33207 h 644790"/>
              <a:gd name="connsiteX11" fmla="*/ 0 w 2466975"/>
              <a:gd name="connsiteY11" fmla="*/ 0 h 644790"/>
              <a:gd name="connsiteX12" fmla="*/ 428625 w 2466975"/>
              <a:gd name="connsiteY12" fmla="*/ 376239 h 644790"/>
              <a:gd name="connsiteX0" fmla="*/ 428625 w 2466975"/>
              <a:gd name="connsiteY0" fmla="*/ 376239 h 644790"/>
              <a:gd name="connsiteX1" fmla="*/ 457200 w 2466975"/>
              <a:gd name="connsiteY1" fmla="*/ 409577 h 644790"/>
              <a:gd name="connsiteX2" fmla="*/ 785813 w 2466975"/>
              <a:gd name="connsiteY2" fmla="*/ 628651 h 644790"/>
              <a:gd name="connsiteX3" fmla="*/ 2009775 w 2466975"/>
              <a:gd name="connsiteY3" fmla="*/ 633414 h 644790"/>
              <a:gd name="connsiteX4" fmla="*/ 2405062 w 2466975"/>
              <a:gd name="connsiteY4" fmla="*/ 452439 h 644790"/>
              <a:gd name="connsiteX5" fmla="*/ 2466975 w 2466975"/>
              <a:gd name="connsiteY5" fmla="*/ 376239 h 644790"/>
              <a:gd name="connsiteX6" fmla="*/ 2066925 w 2466975"/>
              <a:gd name="connsiteY6" fmla="*/ 7144 h 644790"/>
              <a:gd name="connsiteX7" fmla="*/ 1989138 w 2466975"/>
              <a:gd name="connsiteY7" fmla="*/ 104644 h 644790"/>
              <a:gd name="connsiteX8" fmla="*/ 1647826 w 2466975"/>
              <a:gd name="connsiteY8" fmla="*/ 238126 h 644790"/>
              <a:gd name="connsiteX9" fmla="*/ 452438 w 2466975"/>
              <a:gd name="connsiteY9" fmla="*/ 257176 h 644790"/>
              <a:gd name="connsiteX10" fmla="*/ 60325 w 2466975"/>
              <a:gd name="connsiteY10" fmla="*/ 33207 h 644790"/>
              <a:gd name="connsiteX11" fmla="*/ 0 w 2466975"/>
              <a:gd name="connsiteY11" fmla="*/ 0 h 644790"/>
              <a:gd name="connsiteX12" fmla="*/ 428625 w 2466975"/>
              <a:gd name="connsiteY12" fmla="*/ 376239 h 644790"/>
              <a:gd name="connsiteX0" fmla="*/ 428625 w 2466975"/>
              <a:gd name="connsiteY0" fmla="*/ 376239 h 644790"/>
              <a:gd name="connsiteX1" fmla="*/ 457200 w 2466975"/>
              <a:gd name="connsiteY1" fmla="*/ 409577 h 644790"/>
              <a:gd name="connsiteX2" fmla="*/ 785813 w 2466975"/>
              <a:gd name="connsiteY2" fmla="*/ 628651 h 644790"/>
              <a:gd name="connsiteX3" fmla="*/ 2009775 w 2466975"/>
              <a:gd name="connsiteY3" fmla="*/ 633414 h 644790"/>
              <a:gd name="connsiteX4" fmla="*/ 2405062 w 2466975"/>
              <a:gd name="connsiteY4" fmla="*/ 452439 h 644790"/>
              <a:gd name="connsiteX5" fmla="*/ 2466975 w 2466975"/>
              <a:gd name="connsiteY5" fmla="*/ 376239 h 644790"/>
              <a:gd name="connsiteX6" fmla="*/ 2066925 w 2466975"/>
              <a:gd name="connsiteY6" fmla="*/ 7144 h 644790"/>
              <a:gd name="connsiteX7" fmla="*/ 1989138 w 2466975"/>
              <a:gd name="connsiteY7" fmla="*/ 104644 h 644790"/>
              <a:gd name="connsiteX8" fmla="*/ 1647826 w 2466975"/>
              <a:gd name="connsiteY8" fmla="*/ 238126 h 644790"/>
              <a:gd name="connsiteX9" fmla="*/ 452438 w 2466975"/>
              <a:gd name="connsiteY9" fmla="*/ 257176 h 644790"/>
              <a:gd name="connsiteX10" fmla="*/ 100806 w 2466975"/>
              <a:gd name="connsiteY10" fmla="*/ 78451 h 644790"/>
              <a:gd name="connsiteX11" fmla="*/ 60325 w 2466975"/>
              <a:gd name="connsiteY11" fmla="*/ 33207 h 644790"/>
              <a:gd name="connsiteX12" fmla="*/ 0 w 2466975"/>
              <a:gd name="connsiteY12" fmla="*/ 0 h 644790"/>
              <a:gd name="connsiteX13" fmla="*/ 428625 w 2466975"/>
              <a:gd name="connsiteY13" fmla="*/ 376239 h 644790"/>
              <a:gd name="connsiteX0" fmla="*/ 446646 w 2484996"/>
              <a:gd name="connsiteY0" fmla="*/ 391312 h 659863"/>
              <a:gd name="connsiteX1" fmla="*/ 475221 w 2484996"/>
              <a:gd name="connsiteY1" fmla="*/ 424650 h 659863"/>
              <a:gd name="connsiteX2" fmla="*/ 803834 w 2484996"/>
              <a:gd name="connsiteY2" fmla="*/ 643724 h 659863"/>
              <a:gd name="connsiteX3" fmla="*/ 2027796 w 2484996"/>
              <a:gd name="connsiteY3" fmla="*/ 648487 h 659863"/>
              <a:gd name="connsiteX4" fmla="*/ 2423083 w 2484996"/>
              <a:gd name="connsiteY4" fmla="*/ 467512 h 659863"/>
              <a:gd name="connsiteX5" fmla="*/ 2484996 w 2484996"/>
              <a:gd name="connsiteY5" fmla="*/ 391312 h 659863"/>
              <a:gd name="connsiteX6" fmla="*/ 2084946 w 2484996"/>
              <a:gd name="connsiteY6" fmla="*/ 22217 h 659863"/>
              <a:gd name="connsiteX7" fmla="*/ 2007159 w 2484996"/>
              <a:gd name="connsiteY7" fmla="*/ 119717 h 659863"/>
              <a:gd name="connsiteX8" fmla="*/ 1665847 w 2484996"/>
              <a:gd name="connsiteY8" fmla="*/ 253199 h 659863"/>
              <a:gd name="connsiteX9" fmla="*/ 470459 w 2484996"/>
              <a:gd name="connsiteY9" fmla="*/ 272249 h 659863"/>
              <a:gd name="connsiteX10" fmla="*/ 118827 w 2484996"/>
              <a:gd name="connsiteY10" fmla="*/ 93524 h 659863"/>
              <a:gd name="connsiteX11" fmla="*/ 18021 w 2484996"/>
              <a:gd name="connsiteY11" fmla="*/ 15073 h 659863"/>
              <a:gd name="connsiteX12" fmla="*/ 446646 w 2484996"/>
              <a:gd name="connsiteY12" fmla="*/ 391312 h 659863"/>
              <a:gd name="connsiteX0" fmla="*/ 442796 w 2481146"/>
              <a:gd name="connsiteY0" fmla="*/ 398623 h 667174"/>
              <a:gd name="connsiteX1" fmla="*/ 471371 w 2481146"/>
              <a:gd name="connsiteY1" fmla="*/ 431961 h 667174"/>
              <a:gd name="connsiteX2" fmla="*/ 799984 w 2481146"/>
              <a:gd name="connsiteY2" fmla="*/ 651035 h 667174"/>
              <a:gd name="connsiteX3" fmla="*/ 2023946 w 2481146"/>
              <a:gd name="connsiteY3" fmla="*/ 655798 h 667174"/>
              <a:gd name="connsiteX4" fmla="*/ 2419233 w 2481146"/>
              <a:gd name="connsiteY4" fmla="*/ 474823 h 667174"/>
              <a:gd name="connsiteX5" fmla="*/ 2481146 w 2481146"/>
              <a:gd name="connsiteY5" fmla="*/ 398623 h 667174"/>
              <a:gd name="connsiteX6" fmla="*/ 2081096 w 2481146"/>
              <a:gd name="connsiteY6" fmla="*/ 29528 h 667174"/>
              <a:gd name="connsiteX7" fmla="*/ 2003309 w 2481146"/>
              <a:gd name="connsiteY7" fmla="*/ 127028 h 667174"/>
              <a:gd name="connsiteX8" fmla="*/ 1661997 w 2481146"/>
              <a:gd name="connsiteY8" fmla="*/ 260510 h 667174"/>
              <a:gd name="connsiteX9" fmla="*/ 466609 w 2481146"/>
              <a:gd name="connsiteY9" fmla="*/ 279560 h 667174"/>
              <a:gd name="connsiteX10" fmla="*/ 150696 w 2481146"/>
              <a:gd name="connsiteY10" fmla="*/ 57973 h 667174"/>
              <a:gd name="connsiteX11" fmla="*/ 14171 w 2481146"/>
              <a:gd name="connsiteY11" fmla="*/ 22384 h 667174"/>
              <a:gd name="connsiteX12" fmla="*/ 442796 w 2481146"/>
              <a:gd name="connsiteY12" fmla="*/ 398623 h 667174"/>
              <a:gd name="connsiteX0" fmla="*/ 428625 w 2466975"/>
              <a:gd name="connsiteY0" fmla="*/ 376239 h 644790"/>
              <a:gd name="connsiteX1" fmla="*/ 457200 w 2466975"/>
              <a:gd name="connsiteY1" fmla="*/ 409577 h 644790"/>
              <a:gd name="connsiteX2" fmla="*/ 785813 w 2466975"/>
              <a:gd name="connsiteY2" fmla="*/ 628651 h 644790"/>
              <a:gd name="connsiteX3" fmla="*/ 2009775 w 2466975"/>
              <a:gd name="connsiteY3" fmla="*/ 633414 h 644790"/>
              <a:gd name="connsiteX4" fmla="*/ 2405062 w 2466975"/>
              <a:gd name="connsiteY4" fmla="*/ 452439 h 644790"/>
              <a:gd name="connsiteX5" fmla="*/ 2466975 w 2466975"/>
              <a:gd name="connsiteY5" fmla="*/ 376239 h 644790"/>
              <a:gd name="connsiteX6" fmla="*/ 2066925 w 2466975"/>
              <a:gd name="connsiteY6" fmla="*/ 7144 h 644790"/>
              <a:gd name="connsiteX7" fmla="*/ 1989138 w 2466975"/>
              <a:gd name="connsiteY7" fmla="*/ 104644 h 644790"/>
              <a:gd name="connsiteX8" fmla="*/ 1647826 w 2466975"/>
              <a:gd name="connsiteY8" fmla="*/ 238126 h 644790"/>
              <a:gd name="connsiteX9" fmla="*/ 452438 w 2466975"/>
              <a:gd name="connsiteY9" fmla="*/ 257176 h 644790"/>
              <a:gd name="connsiteX10" fmla="*/ 136525 w 2466975"/>
              <a:gd name="connsiteY10" fmla="*/ 35589 h 644790"/>
              <a:gd name="connsiteX11" fmla="*/ 0 w 2466975"/>
              <a:gd name="connsiteY11" fmla="*/ 0 h 644790"/>
              <a:gd name="connsiteX12" fmla="*/ 428625 w 2466975"/>
              <a:gd name="connsiteY12" fmla="*/ 376239 h 644790"/>
              <a:gd name="connsiteX0" fmla="*/ 428625 w 2466975"/>
              <a:gd name="connsiteY0" fmla="*/ 376239 h 644790"/>
              <a:gd name="connsiteX1" fmla="*/ 457200 w 2466975"/>
              <a:gd name="connsiteY1" fmla="*/ 409577 h 644790"/>
              <a:gd name="connsiteX2" fmla="*/ 785813 w 2466975"/>
              <a:gd name="connsiteY2" fmla="*/ 628651 h 644790"/>
              <a:gd name="connsiteX3" fmla="*/ 2009775 w 2466975"/>
              <a:gd name="connsiteY3" fmla="*/ 633414 h 644790"/>
              <a:gd name="connsiteX4" fmla="*/ 2405062 w 2466975"/>
              <a:gd name="connsiteY4" fmla="*/ 452439 h 644790"/>
              <a:gd name="connsiteX5" fmla="*/ 2466975 w 2466975"/>
              <a:gd name="connsiteY5" fmla="*/ 376239 h 644790"/>
              <a:gd name="connsiteX6" fmla="*/ 2066925 w 2466975"/>
              <a:gd name="connsiteY6" fmla="*/ 7144 h 644790"/>
              <a:gd name="connsiteX7" fmla="*/ 1989138 w 2466975"/>
              <a:gd name="connsiteY7" fmla="*/ 104644 h 644790"/>
              <a:gd name="connsiteX8" fmla="*/ 1647826 w 2466975"/>
              <a:gd name="connsiteY8" fmla="*/ 238126 h 644790"/>
              <a:gd name="connsiteX9" fmla="*/ 452438 w 2466975"/>
              <a:gd name="connsiteY9" fmla="*/ 257176 h 644790"/>
              <a:gd name="connsiteX10" fmla="*/ 100806 w 2466975"/>
              <a:gd name="connsiteY10" fmla="*/ 68927 h 644790"/>
              <a:gd name="connsiteX11" fmla="*/ 0 w 2466975"/>
              <a:gd name="connsiteY11" fmla="*/ 0 h 644790"/>
              <a:gd name="connsiteX12" fmla="*/ 428625 w 2466975"/>
              <a:gd name="connsiteY12" fmla="*/ 376239 h 644790"/>
              <a:gd name="connsiteX0" fmla="*/ 428625 w 2466975"/>
              <a:gd name="connsiteY0" fmla="*/ 376239 h 644790"/>
              <a:gd name="connsiteX1" fmla="*/ 457200 w 2466975"/>
              <a:gd name="connsiteY1" fmla="*/ 409577 h 644790"/>
              <a:gd name="connsiteX2" fmla="*/ 785813 w 2466975"/>
              <a:gd name="connsiteY2" fmla="*/ 628651 h 644790"/>
              <a:gd name="connsiteX3" fmla="*/ 2009775 w 2466975"/>
              <a:gd name="connsiteY3" fmla="*/ 633414 h 644790"/>
              <a:gd name="connsiteX4" fmla="*/ 2405062 w 2466975"/>
              <a:gd name="connsiteY4" fmla="*/ 452439 h 644790"/>
              <a:gd name="connsiteX5" fmla="*/ 2466975 w 2466975"/>
              <a:gd name="connsiteY5" fmla="*/ 376239 h 644790"/>
              <a:gd name="connsiteX6" fmla="*/ 2066925 w 2466975"/>
              <a:gd name="connsiteY6" fmla="*/ 7144 h 644790"/>
              <a:gd name="connsiteX7" fmla="*/ 1989138 w 2466975"/>
              <a:gd name="connsiteY7" fmla="*/ 104644 h 644790"/>
              <a:gd name="connsiteX8" fmla="*/ 1647826 w 2466975"/>
              <a:gd name="connsiteY8" fmla="*/ 238126 h 644790"/>
              <a:gd name="connsiteX9" fmla="*/ 452438 w 2466975"/>
              <a:gd name="connsiteY9" fmla="*/ 257176 h 644790"/>
              <a:gd name="connsiteX10" fmla="*/ 100806 w 2466975"/>
              <a:gd name="connsiteY10" fmla="*/ 87977 h 644790"/>
              <a:gd name="connsiteX11" fmla="*/ 0 w 2466975"/>
              <a:gd name="connsiteY11" fmla="*/ 0 h 644790"/>
              <a:gd name="connsiteX12" fmla="*/ 428625 w 2466975"/>
              <a:gd name="connsiteY12" fmla="*/ 376239 h 64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66975" h="644790">
                <a:moveTo>
                  <a:pt x="428625" y="376239"/>
                </a:moveTo>
                <a:lnTo>
                  <a:pt x="457200" y="409577"/>
                </a:lnTo>
                <a:cubicBezTo>
                  <a:pt x="516731" y="451646"/>
                  <a:pt x="534988" y="611982"/>
                  <a:pt x="785813" y="628651"/>
                </a:cubicBezTo>
                <a:cubicBezTo>
                  <a:pt x="1036638" y="645320"/>
                  <a:pt x="1750219" y="652464"/>
                  <a:pt x="2009775" y="633414"/>
                </a:cubicBezTo>
                <a:cubicBezTo>
                  <a:pt x="2269331" y="614364"/>
                  <a:pt x="2339975" y="494508"/>
                  <a:pt x="2405062" y="452439"/>
                </a:cubicBezTo>
                <a:lnTo>
                  <a:pt x="2466975" y="376239"/>
                </a:lnTo>
                <a:lnTo>
                  <a:pt x="2066925" y="7144"/>
                </a:lnTo>
                <a:lnTo>
                  <a:pt x="1989138" y="104644"/>
                </a:lnTo>
                <a:cubicBezTo>
                  <a:pt x="1921669" y="144331"/>
                  <a:pt x="1916643" y="210323"/>
                  <a:pt x="1647826" y="238126"/>
                </a:cubicBezTo>
                <a:cubicBezTo>
                  <a:pt x="1379803" y="270692"/>
                  <a:pt x="751682" y="293689"/>
                  <a:pt x="452438" y="257176"/>
                </a:cubicBezTo>
                <a:cubicBezTo>
                  <a:pt x="189045" y="223023"/>
                  <a:pt x="176212" y="130840"/>
                  <a:pt x="100806" y="87977"/>
                </a:cubicBezTo>
                <a:lnTo>
                  <a:pt x="0" y="0"/>
                </a:lnTo>
                <a:lnTo>
                  <a:pt x="428625" y="376239"/>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0800000" scaled="1"/>
            <a:tileRect/>
          </a:gradFill>
          <a:ln w="12700" cap="flat" cmpd="sng" algn="ctr">
            <a:solidFill>
              <a:schemeClr val="tx1"/>
            </a:solidFill>
            <a:prstDash val="solid"/>
            <a:round/>
            <a:headEnd type="none" w="sm" len="sm"/>
            <a:tailEnd type="none" w="sm" len="sm"/>
          </a:ln>
          <a:effectLst/>
          <a:extLst/>
        </p:spPr>
        <p:txBody>
          <a:bodyPr/>
          <a:lstStyle/>
          <a:p>
            <a:pPr>
              <a:defRPr/>
            </a:pPr>
            <a:endParaRPr lang="en-US" dirty="0"/>
          </a:p>
        </p:txBody>
      </p:sp>
      <p:sp>
        <p:nvSpPr>
          <p:cNvPr id="26" name="Rectangle 25"/>
          <p:cNvSpPr/>
          <p:nvPr>
            <p:custDataLst>
              <p:tags r:id="rId34"/>
            </p:custDataLst>
          </p:nvPr>
        </p:nvSpPr>
        <p:spPr bwMode="auto">
          <a:xfrm>
            <a:off x="1708338" y="1663701"/>
            <a:ext cx="2212975" cy="1192213"/>
          </a:xfrm>
          <a:prstGeom prst="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8900000" scaled="1"/>
            <a:tileRect/>
          </a:gradFill>
          <a:ln w="12700" cap="flat" cmpd="sng" algn="ctr">
            <a:solidFill>
              <a:schemeClr val="tx1"/>
            </a:solidFill>
            <a:prstDash val="solid"/>
            <a:round/>
            <a:headEnd type="none" w="sm" len="sm"/>
            <a:tailEnd type="none" w="sm" len="sm"/>
          </a:ln>
          <a:effectLst/>
          <a:extLst/>
        </p:spPr>
        <p:txBody>
          <a:bodyPr/>
          <a:lstStyle/>
          <a:p>
            <a:pPr>
              <a:defRPr/>
            </a:pPr>
            <a:endParaRPr lang="en-US" dirty="0"/>
          </a:p>
        </p:txBody>
      </p:sp>
      <p:grpSp>
        <p:nvGrpSpPr>
          <p:cNvPr id="10" name="Group 9"/>
          <p:cNvGrpSpPr/>
          <p:nvPr>
            <p:custDataLst>
              <p:tags r:id="rId35"/>
            </p:custDataLst>
          </p:nvPr>
        </p:nvGrpSpPr>
        <p:grpSpPr>
          <a:xfrm>
            <a:off x="4959351" y="4962525"/>
            <a:ext cx="2876550" cy="1766888"/>
            <a:chOff x="3276600" y="4962525"/>
            <a:chExt cx="2876550" cy="1766888"/>
          </a:xfrm>
        </p:grpSpPr>
        <p:grpSp>
          <p:nvGrpSpPr>
            <p:cNvPr id="10273" name="Group 20"/>
            <p:cNvGrpSpPr>
              <a:grpSpLocks/>
            </p:cNvGrpSpPr>
            <p:nvPr>
              <p:custDataLst>
                <p:tags r:id="rId47"/>
              </p:custDataLst>
            </p:nvPr>
          </p:nvGrpSpPr>
          <p:grpSpPr bwMode="auto">
            <a:xfrm>
              <a:off x="3276600" y="4962525"/>
              <a:ext cx="2876550" cy="1662113"/>
              <a:chOff x="3276600" y="4962525"/>
              <a:chExt cx="2876550" cy="1662113"/>
            </a:xfrm>
          </p:grpSpPr>
          <p:sp>
            <p:nvSpPr>
              <p:cNvPr id="20" name="Oval 19"/>
              <p:cNvSpPr/>
              <p:nvPr/>
            </p:nvSpPr>
            <p:spPr bwMode="auto">
              <a:xfrm>
                <a:off x="3276600" y="4962525"/>
                <a:ext cx="2876550" cy="1662113"/>
              </a:xfrm>
              <a:prstGeom prst="ellipse">
                <a:avLst/>
              </a:prstGeom>
              <a:solidFill>
                <a:schemeClr val="tx2">
                  <a:lumMod val="75000"/>
                </a:schemeClr>
              </a:solidFill>
              <a:ln w="12700" cap="flat" cmpd="sng" algn="ctr">
                <a:solidFill>
                  <a:schemeClr val="tx1"/>
                </a:solidFill>
                <a:prstDash val="solid"/>
                <a:round/>
                <a:headEnd type="none" w="sm" len="sm"/>
                <a:tailEnd type="none" w="sm" len="sm"/>
              </a:ln>
              <a:effectLst/>
              <a:extLst/>
            </p:spPr>
            <p:txBody>
              <a:bodyPr/>
              <a:lstStyle/>
              <a:p>
                <a:pPr>
                  <a:defRPr/>
                </a:pPr>
                <a:endParaRPr lang="en-US"/>
              </a:p>
            </p:txBody>
          </p:sp>
          <p:sp>
            <p:nvSpPr>
              <p:cNvPr id="63" name="Oval 62"/>
              <p:cNvSpPr/>
              <p:nvPr/>
            </p:nvSpPr>
            <p:spPr bwMode="auto">
              <a:xfrm>
                <a:off x="3314688" y="5000605"/>
                <a:ext cx="2805113" cy="1585913"/>
              </a:xfrm>
              <a:prstGeom prst="ellipse">
                <a:avLst/>
              </a:prstGeom>
              <a:gradFill>
                <a:gsLst>
                  <a:gs pos="0">
                    <a:srgbClr val="FF0000">
                      <a:alpha val="48000"/>
                    </a:srgbClr>
                  </a:gs>
                  <a:gs pos="94000">
                    <a:schemeClr val="accent1">
                      <a:shade val="67500"/>
                      <a:satMod val="115000"/>
                    </a:schemeClr>
                  </a:gs>
                  <a:gs pos="100000">
                    <a:schemeClr val="accent1">
                      <a:shade val="100000"/>
                      <a:satMod val="115000"/>
                    </a:schemeClr>
                  </a:gs>
                </a:gsLst>
                <a:lin ang="7800000" scaled="0"/>
              </a:gradFill>
              <a:ln w="12700" cap="flat" cmpd="sng" algn="ctr">
                <a:solidFill>
                  <a:schemeClr val="tx1"/>
                </a:solidFill>
                <a:prstDash val="solid"/>
                <a:round/>
                <a:headEnd type="none" w="sm" len="sm"/>
                <a:tailEnd type="none" w="sm" len="sm"/>
              </a:ln>
              <a:effectLst/>
              <a:extLst/>
            </p:spPr>
            <p:txBody>
              <a:bodyPr/>
              <a:lstStyle/>
              <a:p>
                <a:pPr>
                  <a:defRPr/>
                </a:pPr>
                <a:endParaRPr lang="en-US"/>
              </a:p>
            </p:txBody>
          </p:sp>
        </p:grpSp>
        <p:sp>
          <p:nvSpPr>
            <p:cNvPr id="22" name="Freeform 21"/>
            <p:cNvSpPr/>
            <p:nvPr>
              <p:custDataLst>
                <p:tags r:id="rId48"/>
              </p:custDataLst>
            </p:nvPr>
          </p:nvSpPr>
          <p:spPr bwMode="auto">
            <a:xfrm>
              <a:off x="3714750" y="6467475"/>
              <a:ext cx="2128838" cy="261938"/>
            </a:xfrm>
            <a:custGeom>
              <a:avLst/>
              <a:gdLst>
                <a:gd name="connsiteX0" fmla="*/ 161925 w 2033588"/>
                <a:gd name="connsiteY0" fmla="*/ 71438 h 300038"/>
                <a:gd name="connsiteX1" fmla="*/ 0 w 2033588"/>
                <a:gd name="connsiteY1" fmla="*/ 300038 h 300038"/>
                <a:gd name="connsiteX2" fmla="*/ 261938 w 2033588"/>
                <a:gd name="connsiteY2" fmla="*/ 300038 h 300038"/>
                <a:gd name="connsiteX3" fmla="*/ 400050 w 2033588"/>
                <a:gd name="connsiteY3" fmla="*/ 233363 h 300038"/>
                <a:gd name="connsiteX4" fmla="*/ 1609725 w 2033588"/>
                <a:gd name="connsiteY4" fmla="*/ 195263 h 300038"/>
                <a:gd name="connsiteX5" fmla="*/ 1766888 w 2033588"/>
                <a:gd name="connsiteY5" fmla="*/ 257175 h 300038"/>
                <a:gd name="connsiteX6" fmla="*/ 2033588 w 2033588"/>
                <a:gd name="connsiteY6" fmla="*/ 257175 h 300038"/>
                <a:gd name="connsiteX7" fmla="*/ 1866900 w 2033588"/>
                <a:gd name="connsiteY7" fmla="*/ 0 h 300038"/>
                <a:gd name="connsiteX8" fmla="*/ 1500188 w 2033588"/>
                <a:gd name="connsiteY8" fmla="*/ 133350 h 300038"/>
                <a:gd name="connsiteX9" fmla="*/ 1052513 w 2033588"/>
                <a:gd name="connsiteY9" fmla="*/ 200025 h 300038"/>
                <a:gd name="connsiteX10" fmla="*/ 781050 w 2033588"/>
                <a:gd name="connsiteY10" fmla="*/ 200025 h 300038"/>
                <a:gd name="connsiteX11" fmla="*/ 381000 w 2033588"/>
                <a:gd name="connsiteY11" fmla="*/ 152400 h 300038"/>
                <a:gd name="connsiteX12" fmla="*/ 161925 w 2033588"/>
                <a:gd name="connsiteY12" fmla="*/ 71438 h 300038"/>
                <a:gd name="connsiteX0" fmla="*/ 161925 w 2033588"/>
                <a:gd name="connsiteY0" fmla="*/ 71438 h 300038"/>
                <a:gd name="connsiteX1" fmla="*/ 0 w 2033588"/>
                <a:gd name="connsiteY1" fmla="*/ 300038 h 300038"/>
                <a:gd name="connsiteX2" fmla="*/ 261938 w 2033588"/>
                <a:gd name="connsiteY2" fmla="*/ 300038 h 300038"/>
                <a:gd name="connsiteX3" fmla="*/ 400050 w 2033588"/>
                <a:gd name="connsiteY3" fmla="*/ 233363 h 300038"/>
                <a:gd name="connsiteX4" fmla="*/ 1609725 w 2033588"/>
                <a:gd name="connsiteY4" fmla="*/ 195263 h 300038"/>
                <a:gd name="connsiteX5" fmla="*/ 1785938 w 2033588"/>
                <a:gd name="connsiteY5" fmla="*/ 280987 h 300038"/>
                <a:gd name="connsiteX6" fmla="*/ 2033588 w 2033588"/>
                <a:gd name="connsiteY6" fmla="*/ 257175 h 300038"/>
                <a:gd name="connsiteX7" fmla="*/ 1866900 w 2033588"/>
                <a:gd name="connsiteY7" fmla="*/ 0 h 300038"/>
                <a:gd name="connsiteX8" fmla="*/ 1500188 w 2033588"/>
                <a:gd name="connsiteY8" fmla="*/ 133350 h 300038"/>
                <a:gd name="connsiteX9" fmla="*/ 1052513 w 2033588"/>
                <a:gd name="connsiteY9" fmla="*/ 200025 h 300038"/>
                <a:gd name="connsiteX10" fmla="*/ 781050 w 2033588"/>
                <a:gd name="connsiteY10" fmla="*/ 200025 h 300038"/>
                <a:gd name="connsiteX11" fmla="*/ 381000 w 2033588"/>
                <a:gd name="connsiteY11" fmla="*/ 152400 h 300038"/>
                <a:gd name="connsiteX12" fmla="*/ 161925 w 2033588"/>
                <a:gd name="connsiteY12" fmla="*/ 71438 h 300038"/>
                <a:gd name="connsiteX0" fmla="*/ 161925 w 2052638"/>
                <a:gd name="connsiteY0" fmla="*/ 71438 h 300038"/>
                <a:gd name="connsiteX1" fmla="*/ 0 w 2052638"/>
                <a:gd name="connsiteY1" fmla="*/ 300038 h 300038"/>
                <a:gd name="connsiteX2" fmla="*/ 261938 w 2052638"/>
                <a:gd name="connsiteY2" fmla="*/ 300038 h 300038"/>
                <a:gd name="connsiteX3" fmla="*/ 400050 w 2052638"/>
                <a:gd name="connsiteY3" fmla="*/ 233363 h 300038"/>
                <a:gd name="connsiteX4" fmla="*/ 1609725 w 2052638"/>
                <a:gd name="connsiteY4" fmla="*/ 195263 h 300038"/>
                <a:gd name="connsiteX5" fmla="*/ 1785938 w 2052638"/>
                <a:gd name="connsiteY5" fmla="*/ 280987 h 300038"/>
                <a:gd name="connsiteX6" fmla="*/ 2052638 w 2052638"/>
                <a:gd name="connsiteY6" fmla="*/ 280988 h 300038"/>
                <a:gd name="connsiteX7" fmla="*/ 1866900 w 2052638"/>
                <a:gd name="connsiteY7" fmla="*/ 0 h 300038"/>
                <a:gd name="connsiteX8" fmla="*/ 1500188 w 2052638"/>
                <a:gd name="connsiteY8" fmla="*/ 133350 h 300038"/>
                <a:gd name="connsiteX9" fmla="*/ 1052513 w 2052638"/>
                <a:gd name="connsiteY9" fmla="*/ 200025 h 300038"/>
                <a:gd name="connsiteX10" fmla="*/ 781050 w 2052638"/>
                <a:gd name="connsiteY10" fmla="*/ 200025 h 300038"/>
                <a:gd name="connsiteX11" fmla="*/ 381000 w 2052638"/>
                <a:gd name="connsiteY11" fmla="*/ 152400 h 300038"/>
                <a:gd name="connsiteX12" fmla="*/ 161925 w 2052638"/>
                <a:gd name="connsiteY12" fmla="*/ 71438 h 300038"/>
                <a:gd name="connsiteX0" fmla="*/ 161925 w 2052638"/>
                <a:gd name="connsiteY0" fmla="*/ 71438 h 300038"/>
                <a:gd name="connsiteX1" fmla="*/ 0 w 2052638"/>
                <a:gd name="connsiteY1" fmla="*/ 300038 h 300038"/>
                <a:gd name="connsiteX2" fmla="*/ 261938 w 2052638"/>
                <a:gd name="connsiteY2" fmla="*/ 300038 h 300038"/>
                <a:gd name="connsiteX3" fmla="*/ 400050 w 2052638"/>
                <a:gd name="connsiteY3" fmla="*/ 233363 h 300038"/>
                <a:gd name="connsiteX4" fmla="*/ 1609725 w 2052638"/>
                <a:gd name="connsiteY4" fmla="*/ 195263 h 300038"/>
                <a:gd name="connsiteX5" fmla="*/ 1785938 w 2052638"/>
                <a:gd name="connsiteY5" fmla="*/ 280987 h 300038"/>
                <a:gd name="connsiteX6" fmla="*/ 2052638 w 2052638"/>
                <a:gd name="connsiteY6" fmla="*/ 280988 h 300038"/>
                <a:gd name="connsiteX7" fmla="*/ 1790700 w 2052638"/>
                <a:gd name="connsiteY7" fmla="*/ 38100 h 300038"/>
                <a:gd name="connsiteX8" fmla="*/ 1866900 w 2052638"/>
                <a:gd name="connsiteY8" fmla="*/ 0 h 300038"/>
                <a:gd name="connsiteX9" fmla="*/ 1500188 w 2052638"/>
                <a:gd name="connsiteY9" fmla="*/ 133350 h 300038"/>
                <a:gd name="connsiteX10" fmla="*/ 1052513 w 2052638"/>
                <a:gd name="connsiteY10" fmla="*/ 200025 h 300038"/>
                <a:gd name="connsiteX11" fmla="*/ 781050 w 2052638"/>
                <a:gd name="connsiteY11" fmla="*/ 200025 h 300038"/>
                <a:gd name="connsiteX12" fmla="*/ 381000 w 2052638"/>
                <a:gd name="connsiteY12" fmla="*/ 152400 h 300038"/>
                <a:gd name="connsiteX13" fmla="*/ 161925 w 2052638"/>
                <a:gd name="connsiteY13" fmla="*/ 71438 h 300038"/>
                <a:gd name="connsiteX0" fmla="*/ 161925 w 2052638"/>
                <a:gd name="connsiteY0" fmla="*/ 71438 h 300038"/>
                <a:gd name="connsiteX1" fmla="*/ 0 w 2052638"/>
                <a:gd name="connsiteY1" fmla="*/ 300038 h 300038"/>
                <a:gd name="connsiteX2" fmla="*/ 261938 w 2052638"/>
                <a:gd name="connsiteY2" fmla="*/ 300038 h 300038"/>
                <a:gd name="connsiteX3" fmla="*/ 400050 w 2052638"/>
                <a:gd name="connsiteY3" fmla="*/ 233363 h 300038"/>
                <a:gd name="connsiteX4" fmla="*/ 1609725 w 2052638"/>
                <a:gd name="connsiteY4" fmla="*/ 195263 h 300038"/>
                <a:gd name="connsiteX5" fmla="*/ 1709738 w 2052638"/>
                <a:gd name="connsiteY5" fmla="*/ 280987 h 300038"/>
                <a:gd name="connsiteX6" fmla="*/ 2052638 w 2052638"/>
                <a:gd name="connsiteY6" fmla="*/ 280988 h 300038"/>
                <a:gd name="connsiteX7" fmla="*/ 1790700 w 2052638"/>
                <a:gd name="connsiteY7" fmla="*/ 38100 h 300038"/>
                <a:gd name="connsiteX8" fmla="*/ 1866900 w 2052638"/>
                <a:gd name="connsiteY8" fmla="*/ 0 h 300038"/>
                <a:gd name="connsiteX9" fmla="*/ 1500188 w 2052638"/>
                <a:gd name="connsiteY9" fmla="*/ 133350 h 300038"/>
                <a:gd name="connsiteX10" fmla="*/ 1052513 w 2052638"/>
                <a:gd name="connsiteY10" fmla="*/ 200025 h 300038"/>
                <a:gd name="connsiteX11" fmla="*/ 781050 w 2052638"/>
                <a:gd name="connsiteY11" fmla="*/ 200025 h 300038"/>
                <a:gd name="connsiteX12" fmla="*/ 381000 w 2052638"/>
                <a:gd name="connsiteY12" fmla="*/ 152400 h 300038"/>
                <a:gd name="connsiteX13" fmla="*/ 161925 w 2052638"/>
                <a:gd name="connsiteY13" fmla="*/ 71438 h 300038"/>
                <a:gd name="connsiteX0" fmla="*/ 161925 w 2052638"/>
                <a:gd name="connsiteY0" fmla="*/ 71438 h 300038"/>
                <a:gd name="connsiteX1" fmla="*/ 0 w 2052638"/>
                <a:gd name="connsiteY1" fmla="*/ 300038 h 300038"/>
                <a:gd name="connsiteX2" fmla="*/ 261938 w 2052638"/>
                <a:gd name="connsiteY2" fmla="*/ 300038 h 300038"/>
                <a:gd name="connsiteX3" fmla="*/ 400050 w 2052638"/>
                <a:gd name="connsiteY3" fmla="*/ 233363 h 300038"/>
                <a:gd name="connsiteX4" fmla="*/ 1562100 w 2052638"/>
                <a:gd name="connsiteY4" fmla="*/ 190501 h 300038"/>
                <a:gd name="connsiteX5" fmla="*/ 1709738 w 2052638"/>
                <a:gd name="connsiteY5" fmla="*/ 280987 h 300038"/>
                <a:gd name="connsiteX6" fmla="*/ 2052638 w 2052638"/>
                <a:gd name="connsiteY6" fmla="*/ 280988 h 300038"/>
                <a:gd name="connsiteX7" fmla="*/ 1790700 w 2052638"/>
                <a:gd name="connsiteY7" fmla="*/ 38100 h 300038"/>
                <a:gd name="connsiteX8" fmla="*/ 1866900 w 2052638"/>
                <a:gd name="connsiteY8" fmla="*/ 0 h 300038"/>
                <a:gd name="connsiteX9" fmla="*/ 1500188 w 2052638"/>
                <a:gd name="connsiteY9" fmla="*/ 133350 h 300038"/>
                <a:gd name="connsiteX10" fmla="*/ 1052513 w 2052638"/>
                <a:gd name="connsiteY10" fmla="*/ 200025 h 300038"/>
                <a:gd name="connsiteX11" fmla="*/ 781050 w 2052638"/>
                <a:gd name="connsiteY11" fmla="*/ 200025 h 300038"/>
                <a:gd name="connsiteX12" fmla="*/ 381000 w 2052638"/>
                <a:gd name="connsiteY12" fmla="*/ 152400 h 300038"/>
                <a:gd name="connsiteX13" fmla="*/ 161925 w 2052638"/>
                <a:gd name="connsiteY13" fmla="*/ 71438 h 300038"/>
                <a:gd name="connsiteX0" fmla="*/ 161925 w 2052638"/>
                <a:gd name="connsiteY0" fmla="*/ 71438 h 300038"/>
                <a:gd name="connsiteX1" fmla="*/ 0 w 2052638"/>
                <a:gd name="connsiteY1" fmla="*/ 300038 h 300038"/>
                <a:gd name="connsiteX2" fmla="*/ 261938 w 2052638"/>
                <a:gd name="connsiteY2" fmla="*/ 300038 h 300038"/>
                <a:gd name="connsiteX3" fmla="*/ 400050 w 2052638"/>
                <a:gd name="connsiteY3" fmla="*/ 233363 h 300038"/>
                <a:gd name="connsiteX4" fmla="*/ 1562100 w 2052638"/>
                <a:gd name="connsiteY4" fmla="*/ 190501 h 300038"/>
                <a:gd name="connsiteX5" fmla="*/ 1709738 w 2052638"/>
                <a:gd name="connsiteY5" fmla="*/ 280987 h 300038"/>
                <a:gd name="connsiteX6" fmla="*/ 2052638 w 2052638"/>
                <a:gd name="connsiteY6" fmla="*/ 280988 h 300038"/>
                <a:gd name="connsiteX7" fmla="*/ 1790700 w 2052638"/>
                <a:gd name="connsiteY7" fmla="*/ 38100 h 300038"/>
                <a:gd name="connsiteX8" fmla="*/ 1866900 w 2052638"/>
                <a:gd name="connsiteY8" fmla="*/ 0 h 300038"/>
                <a:gd name="connsiteX9" fmla="*/ 1500188 w 2052638"/>
                <a:gd name="connsiteY9" fmla="*/ 133350 h 300038"/>
                <a:gd name="connsiteX10" fmla="*/ 1052513 w 2052638"/>
                <a:gd name="connsiteY10" fmla="*/ 200025 h 300038"/>
                <a:gd name="connsiteX11" fmla="*/ 781050 w 2052638"/>
                <a:gd name="connsiteY11" fmla="*/ 200025 h 300038"/>
                <a:gd name="connsiteX12" fmla="*/ 381000 w 2052638"/>
                <a:gd name="connsiteY12" fmla="*/ 152400 h 300038"/>
                <a:gd name="connsiteX13" fmla="*/ 161925 w 2052638"/>
                <a:gd name="connsiteY13" fmla="*/ 71438 h 300038"/>
                <a:gd name="connsiteX0" fmla="*/ 161925 w 2052638"/>
                <a:gd name="connsiteY0" fmla="*/ 71438 h 300038"/>
                <a:gd name="connsiteX1" fmla="*/ 0 w 2052638"/>
                <a:gd name="connsiteY1" fmla="*/ 300038 h 300038"/>
                <a:gd name="connsiteX2" fmla="*/ 261938 w 2052638"/>
                <a:gd name="connsiteY2" fmla="*/ 300038 h 300038"/>
                <a:gd name="connsiteX3" fmla="*/ 400050 w 2052638"/>
                <a:gd name="connsiteY3" fmla="*/ 233363 h 300038"/>
                <a:gd name="connsiteX4" fmla="*/ 1562100 w 2052638"/>
                <a:gd name="connsiteY4" fmla="*/ 190501 h 300038"/>
                <a:gd name="connsiteX5" fmla="*/ 1709738 w 2052638"/>
                <a:gd name="connsiteY5" fmla="*/ 280987 h 300038"/>
                <a:gd name="connsiteX6" fmla="*/ 2052638 w 2052638"/>
                <a:gd name="connsiteY6" fmla="*/ 280988 h 300038"/>
                <a:gd name="connsiteX7" fmla="*/ 1790700 w 2052638"/>
                <a:gd name="connsiteY7" fmla="*/ 38100 h 300038"/>
                <a:gd name="connsiteX8" fmla="*/ 1866900 w 2052638"/>
                <a:gd name="connsiteY8" fmla="*/ 0 h 300038"/>
                <a:gd name="connsiteX9" fmla="*/ 1500188 w 2052638"/>
                <a:gd name="connsiteY9" fmla="*/ 133350 h 300038"/>
                <a:gd name="connsiteX10" fmla="*/ 1052513 w 2052638"/>
                <a:gd name="connsiteY10" fmla="*/ 200025 h 300038"/>
                <a:gd name="connsiteX11" fmla="*/ 781050 w 2052638"/>
                <a:gd name="connsiteY11" fmla="*/ 200025 h 300038"/>
                <a:gd name="connsiteX12" fmla="*/ 381000 w 2052638"/>
                <a:gd name="connsiteY12" fmla="*/ 152400 h 300038"/>
                <a:gd name="connsiteX13" fmla="*/ 161925 w 2052638"/>
                <a:gd name="connsiteY13" fmla="*/ 71438 h 300038"/>
                <a:gd name="connsiteX0" fmla="*/ 161925 w 2052638"/>
                <a:gd name="connsiteY0" fmla="*/ 33338 h 261938"/>
                <a:gd name="connsiteX1" fmla="*/ 0 w 2052638"/>
                <a:gd name="connsiteY1" fmla="*/ 261938 h 261938"/>
                <a:gd name="connsiteX2" fmla="*/ 261938 w 2052638"/>
                <a:gd name="connsiteY2" fmla="*/ 261938 h 261938"/>
                <a:gd name="connsiteX3" fmla="*/ 400050 w 2052638"/>
                <a:gd name="connsiteY3" fmla="*/ 195263 h 261938"/>
                <a:gd name="connsiteX4" fmla="*/ 1562100 w 2052638"/>
                <a:gd name="connsiteY4" fmla="*/ 152401 h 261938"/>
                <a:gd name="connsiteX5" fmla="*/ 1709738 w 2052638"/>
                <a:gd name="connsiteY5" fmla="*/ 242887 h 261938"/>
                <a:gd name="connsiteX6" fmla="*/ 2052638 w 2052638"/>
                <a:gd name="connsiteY6" fmla="*/ 242888 h 261938"/>
                <a:gd name="connsiteX7" fmla="*/ 1790700 w 2052638"/>
                <a:gd name="connsiteY7" fmla="*/ 0 h 261938"/>
                <a:gd name="connsiteX8" fmla="*/ 1500188 w 2052638"/>
                <a:gd name="connsiteY8" fmla="*/ 95250 h 261938"/>
                <a:gd name="connsiteX9" fmla="*/ 1052513 w 2052638"/>
                <a:gd name="connsiteY9" fmla="*/ 161925 h 261938"/>
                <a:gd name="connsiteX10" fmla="*/ 781050 w 2052638"/>
                <a:gd name="connsiteY10" fmla="*/ 161925 h 261938"/>
                <a:gd name="connsiteX11" fmla="*/ 381000 w 2052638"/>
                <a:gd name="connsiteY11" fmla="*/ 114300 h 261938"/>
                <a:gd name="connsiteX12" fmla="*/ 161925 w 2052638"/>
                <a:gd name="connsiteY12" fmla="*/ 33338 h 261938"/>
                <a:gd name="connsiteX0" fmla="*/ 161925 w 2052638"/>
                <a:gd name="connsiteY0" fmla="*/ 33338 h 261938"/>
                <a:gd name="connsiteX1" fmla="*/ 0 w 2052638"/>
                <a:gd name="connsiteY1" fmla="*/ 261938 h 261938"/>
                <a:gd name="connsiteX2" fmla="*/ 261938 w 2052638"/>
                <a:gd name="connsiteY2" fmla="*/ 261938 h 261938"/>
                <a:gd name="connsiteX3" fmla="*/ 400050 w 2052638"/>
                <a:gd name="connsiteY3" fmla="*/ 195263 h 261938"/>
                <a:gd name="connsiteX4" fmla="*/ 1562100 w 2052638"/>
                <a:gd name="connsiteY4" fmla="*/ 152401 h 261938"/>
                <a:gd name="connsiteX5" fmla="*/ 1709738 w 2052638"/>
                <a:gd name="connsiteY5" fmla="*/ 242887 h 261938"/>
                <a:gd name="connsiteX6" fmla="*/ 2052638 w 2052638"/>
                <a:gd name="connsiteY6" fmla="*/ 242888 h 261938"/>
                <a:gd name="connsiteX7" fmla="*/ 1790700 w 2052638"/>
                <a:gd name="connsiteY7" fmla="*/ 0 h 261938"/>
                <a:gd name="connsiteX8" fmla="*/ 1500188 w 2052638"/>
                <a:gd name="connsiteY8" fmla="*/ 95250 h 261938"/>
                <a:gd name="connsiteX9" fmla="*/ 1052513 w 2052638"/>
                <a:gd name="connsiteY9" fmla="*/ 161925 h 261938"/>
                <a:gd name="connsiteX10" fmla="*/ 781050 w 2052638"/>
                <a:gd name="connsiteY10" fmla="*/ 161925 h 261938"/>
                <a:gd name="connsiteX11" fmla="*/ 381000 w 2052638"/>
                <a:gd name="connsiteY11" fmla="*/ 100012 h 261938"/>
                <a:gd name="connsiteX12" fmla="*/ 161925 w 2052638"/>
                <a:gd name="connsiteY12" fmla="*/ 33338 h 261938"/>
                <a:gd name="connsiteX0" fmla="*/ 161925 w 2052638"/>
                <a:gd name="connsiteY0" fmla="*/ 33338 h 261938"/>
                <a:gd name="connsiteX1" fmla="*/ 0 w 2052638"/>
                <a:gd name="connsiteY1" fmla="*/ 261938 h 261938"/>
                <a:gd name="connsiteX2" fmla="*/ 261938 w 2052638"/>
                <a:gd name="connsiteY2" fmla="*/ 261938 h 261938"/>
                <a:gd name="connsiteX3" fmla="*/ 400050 w 2052638"/>
                <a:gd name="connsiteY3" fmla="*/ 195263 h 261938"/>
                <a:gd name="connsiteX4" fmla="*/ 1562100 w 2052638"/>
                <a:gd name="connsiteY4" fmla="*/ 152401 h 261938"/>
                <a:gd name="connsiteX5" fmla="*/ 1709738 w 2052638"/>
                <a:gd name="connsiteY5" fmla="*/ 242887 h 261938"/>
                <a:gd name="connsiteX6" fmla="*/ 2052638 w 2052638"/>
                <a:gd name="connsiteY6" fmla="*/ 242888 h 261938"/>
                <a:gd name="connsiteX7" fmla="*/ 1790700 w 2052638"/>
                <a:gd name="connsiteY7" fmla="*/ 0 h 261938"/>
                <a:gd name="connsiteX8" fmla="*/ 1500188 w 2052638"/>
                <a:gd name="connsiteY8" fmla="*/ 95250 h 261938"/>
                <a:gd name="connsiteX9" fmla="*/ 1138238 w 2052638"/>
                <a:gd name="connsiteY9" fmla="*/ 157163 h 261938"/>
                <a:gd name="connsiteX10" fmla="*/ 781050 w 2052638"/>
                <a:gd name="connsiteY10" fmla="*/ 161925 h 261938"/>
                <a:gd name="connsiteX11" fmla="*/ 381000 w 2052638"/>
                <a:gd name="connsiteY11" fmla="*/ 100012 h 261938"/>
                <a:gd name="connsiteX12" fmla="*/ 161925 w 2052638"/>
                <a:gd name="connsiteY12" fmla="*/ 33338 h 261938"/>
                <a:gd name="connsiteX0" fmla="*/ 238125 w 2128838"/>
                <a:gd name="connsiteY0" fmla="*/ 33338 h 261938"/>
                <a:gd name="connsiteX1" fmla="*/ 0 w 2128838"/>
                <a:gd name="connsiteY1" fmla="*/ 257175 h 261938"/>
                <a:gd name="connsiteX2" fmla="*/ 338138 w 2128838"/>
                <a:gd name="connsiteY2" fmla="*/ 261938 h 261938"/>
                <a:gd name="connsiteX3" fmla="*/ 476250 w 2128838"/>
                <a:gd name="connsiteY3" fmla="*/ 195263 h 261938"/>
                <a:gd name="connsiteX4" fmla="*/ 1638300 w 2128838"/>
                <a:gd name="connsiteY4" fmla="*/ 152401 h 261938"/>
                <a:gd name="connsiteX5" fmla="*/ 1785938 w 2128838"/>
                <a:gd name="connsiteY5" fmla="*/ 242887 h 261938"/>
                <a:gd name="connsiteX6" fmla="*/ 2128838 w 2128838"/>
                <a:gd name="connsiteY6" fmla="*/ 242888 h 261938"/>
                <a:gd name="connsiteX7" fmla="*/ 1866900 w 2128838"/>
                <a:gd name="connsiteY7" fmla="*/ 0 h 261938"/>
                <a:gd name="connsiteX8" fmla="*/ 1576388 w 2128838"/>
                <a:gd name="connsiteY8" fmla="*/ 95250 h 261938"/>
                <a:gd name="connsiteX9" fmla="*/ 1214438 w 2128838"/>
                <a:gd name="connsiteY9" fmla="*/ 157163 h 261938"/>
                <a:gd name="connsiteX10" fmla="*/ 857250 w 2128838"/>
                <a:gd name="connsiteY10" fmla="*/ 161925 h 261938"/>
                <a:gd name="connsiteX11" fmla="*/ 457200 w 2128838"/>
                <a:gd name="connsiteY11" fmla="*/ 100012 h 261938"/>
                <a:gd name="connsiteX12" fmla="*/ 238125 w 2128838"/>
                <a:gd name="connsiteY12" fmla="*/ 33338 h 261938"/>
                <a:gd name="connsiteX0" fmla="*/ 300037 w 2128838"/>
                <a:gd name="connsiteY0" fmla="*/ 47626 h 261938"/>
                <a:gd name="connsiteX1" fmla="*/ 0 w 2128838"/>
                <a:gd name="connsiteY1" fmla="*/ 257175 h 261938"/>
                <a:gd name="connsiteX2" fmla="*/ 338138 w 2128838"/>
                <a:gd name="connsiteY2" fmla="*/ 261938 h 261938"/>
                <a:gd name="connsiteX3" fmla="*/ 476250 w 2128838"/>
                <a:gd name="connsiteY3" fmla="*/ 195263 h 261938"/>
                <a:gd name="connsiteX4" fmla="*/ 1638300 w 2128838"/>
                <a:gd name="connsiteY4" fmla="*/ 152401 h 261938"/>
                <a:gd name="connsiteX5" fmla="*/ 1785938 w 2128838"/>
                <a:gd name="connsiteY5" fmla="*/ 242887 h 261938"/>
                <a:gd name="connsiteX6" fmla="*/ 2128838 w 2128838"/>
                <a:gd name="connsiteY6" fmla="*/ 242888 h 261938"/>
                <a:gd name="connsiteX7" fmla="*/ 1866900 w 2128838"/>
                <a:gd name="connsiteY7" fmla="*/ 0 h 261938"/>
                <a:gd name="connsiteX8" fmla="*/ 1576388 w 2128838"/>
                <a:gd name="connsiteY8" fmla="*/ 95250 h 261938"/>
                <a:gd name="connsiteX9" fmla="*/ 1214438 w 2128838"/>
                <a:gd name="connsiteY9" fmla="*/ 157163 h 261938"/>
                <a:gd name="connsiteX10" fmla="*/ 857250 w 2128838"/>
                <a:gd name="connsiteY10" fmla="*/ 161925 h 261938"/>
                <a:gd name="connsiteX11" fmla="*/ 457200 w 2128838"/>
                <a:gd name="connsiteY11" fmla="*/ 100012 h 261938"/>
                <a:gd name="connsiteX12" fmla="*/ 300037 w 2128838"/>
                <a:gd name="connsiteY12" fmla="*/ 47626 h 261938"/>
                <a:gd name="connsiteX0" fmla="*/ 300037 w 2128838"/>
                <a:gd name="connsiteY0" fmla="*/ 47626 h 261938"/>
                <a:gd name="connsiteX1" fmla="*/ 0 w 2128838"/>
                <a:gd name="connsiteY1" fmla="*/ 257175 h 261938"/>
                <a:gd name="connsiteX2" fmla="*/ 338138 w 2128838"/>
                <a:gd name="connsiteY2" fmla="*/ 261938 h 261938"/>
                <a:gd name="connsiteX3" fmla="*/ 552450 w 2128838"/>
                <a:gd name="connsiteY3" fmla="*/ 195263 h 261938"/>
                <a:gd name="connsiteX4" fmla="*/ 1638300 w 2128838"/>
                <a:gd name="connsiteY4" fmla="*/ 152401 h 261938"/>
                <a:gd name="connsiteX5" fmla="*/ 1785938 w 2128838"/>
                <a:gd name="connsiteY5" fmla="*/ 242887 h 261938"/>
                <a:gd name="connsiteX6" fmla="*/ 2128838 w 2128838"/>
                <a:gd name="connsiteY6" fmla="*/ 242888 h 261938"/>
                <a:gd name="connsiteX7" fmla="*/ 1866900 w 2128838"/>
                <a:gd name="connsiteY7" fmla="*/ 0 h 261938"/>
                <a:gd name="connsiteX8" fmla="*/ 1576388 w 2128838"/>
                <a:gd name="connsiteY8" fmla="*/ 95250 h 261938"/>
                <a:gd name="connsiteX9" fmla="*/ 1214438 w 2128838"/>
                <a:gd name="connsiteY9" fmla="*/ 157163 h 261938"/>
                <a:gd name="connsiteX10" fmla="*/ 857250 w 2128838"/>
                <a:gd name="connsiteY10" fmla="*/ 161925 h 261938"/>
                <a:gd name="connsiteX11" fmla="*/ 457200 w 2128838"/>
                <a:gd name="connsiteY11" fmla="*/ 100012 h 261938"/>
                <a:gd name="connsiteX12" fmla="*/ 300037 w 2128838"/>
                <a:gd name="connsiteY12" fmla="*/ 47626 h 26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28838" h="261938">
                  <a:moveTo>
                    <a:pt x="300037" y="47626"/>
                  </a:moveTo>
                  <a:lnTo>
                    <a:pt x="0" y="257175"/>
                  </a:lnTo>
                  <a:lnTo>
                    <a:pt x="338138" y="261938"/>
                  </a:lnTo>
                  <a:lnTo>
                    <a:pt x="552450" y="195263"/>
                  </a:lnTo>
                  <a:lnTo>
                    <a:pt x="1638300" y="152401"/>
                  </a:lnTo>
                  <a:lnTo>
                    <a:pt x="1785938" y="242887"/>
                  </a:lnTo>
                  <a:lnTo>
                    <a:pt x="2128838" y="242888"/>
                  </a:lnTo>
                  <a:cubicBezTo>
                    <a:pt x="2071688" y="153988"/>
                    <a:pt x="1924050" y="88900"/>
                    <a:pt x="1866900" y="0"/>
                  </a:cubicBezTo>
                  <a:lnTo>
                    <a:pt x="1576388" y="95250"/>
                  </a:lnTo>
                  <a:lnTo>
                    <a:pt x="1214438" y="157163"/>
                  </a:lnTo>
                  <a:lnTo>
                    <a:pt x="857250" y="161925"/>
                  </a:lnTo>
                  <a:lnTo>
                    <a:pt x="457200" y="100012"/>
                  </a:lnTo>
                  <a:lnTo>
                    <a:pt x="300037" y="47626"/>
                  </a:lnTo>
                  <a:close/>
                </a:path>
              </a:pathLst>
            </a:custGeom>
            <a:solidFill>
              <a:schemeClr val="tx2">
                <a:lumMod val="75000"/>
              </a:schemeClr>
            </a:solidFill>
            <a:ln w="12700" cap="flat" cmpd="sng" algn="ctr">
              <a:solidFill>
                <a:schemeClr val="tx1"/>
              </a:solidFill>
              <a:prstDash val="solid"/>
              <a:round/>
              <a:headEnd type="none" w="sm" len="sm"/>
              <a:tailEnd type="none" w="sm" len="sm"/>
            </a:ln>
            <a:effectLst/>
            <a:extLst/>
          </p:spPr>
          <p:txBody>
            <a:bodyPr/>
            <a:lstStyle/>
            <a:p>
              <a:pPr>
                <a:defRPr/>
              </a:pPr>
              <a:endParaRPr lang="en-US"/>
            </a:p>
          </p:txBody>
        </p:sp>
      </p:grpSp>
      <p:sp>
        <p:nvSpPr>
          <p:cNvPr id="4" name="Oval 3"/>
          <p:cNvSpPr>
            <a:spLocks noChangeArrowheads="1"/>
          </p:cNvSpPr>
          <p:nvPr>
            <p:custDataLst>
              <p:tags r:id="rId36"/>
            </p:custDataLst>
          </p:nvPr>
        </p:nvSpPr>
        <p:spPr bwMode="auto">
          <a:xfrm>
            <a:off x="2833874" y="2736850"/>
            <a:ext cx="46038" cy="46038"/>
          </a:xfrm>
          <a:prstGeom prst="ellipse">
            <a:avLst/>
          </a:prstGeom>
          <a:solidFill>
            <a:srgbClr val="C00000"/>
          </a:solidFill>
          <a:ln w="12700" algn="ctr">
            <a:solidFill>
              <a:schemeClr val="tx1"/>
            </a:solidFill>
            <a:round/>
            <a:headEnd type="none" w="sm" len="sm"/>
            <a:tailEnd type="none" w="sm" len="sm"/>
          </a:ln>
        </p:spPr>
        <p:txBody>
          <a:bodyPr/>
          <a:lstStyle>
            <a:lvl1pPr eaLnBrk="0" hangingPunct="0">
              <a:lnSpc>
                <a:spcPct val="108000"/>
              </a:lnSpc>
              <a:spcAft>
                <a:spcPct val="42000"/>
              </a:spcAft>
              <a:defRPr sz="2000">
                <a:solidFill>
                  <a:schemeClr val="tx1"/>
                </a:solidFill>
                <a:latin typeface="CorpoS" pitchFamily="2" charset="0"/>
              </a:defRPr>
            </a:lvl1pPr>
            <a:lvl2pPr marL="742950" indent="-285750" eaLnBrk="0" hangingPunct="0">
              <a:lnSpc>
                <a:spcPct val="108000"/>
              </a:lnSpc>
              <a:spcAft>
                <a:spcPct val="42000"/>
              </a:spcAft>
              <a:buSzPct val="75000"/>
              <a:buChar char="•"/>
              <a:defRPr sz="2000">
                <a:solidFill>
                  <a:schemeClr val="tx1"/>
                </a:solidFill>
                <a:latin typeface="CorpoS" pitchFamily="2" charset="0"/>
              </a:defRPr>
            </a:lvl2pPr>
            <a:lvl3pPr marL="1143000" indent="-228600" eaLnBrk="0" hangingPunct="0">
              <a:lnSpc>
                <a:spcPct val="108000"/>
              </a:lnSpc>
              <a:spcAft>
                <a:spcPct val="42000"/>
              </a:spcAft>
              <a:buSzPct val="75000"/>
              <a:buChar char="•"/>
              <a:defRPr sz="2000">
                <a:solidFill>
                  <a:schemeClr val="tx1"/>
                </a:solidFill>
                <a:latin typeface="CorpoS" pitchFamily="2" charset="0"/>
              </a:defRPr>
            </a:lvl3pPr>
            <a:lvl4pPr marL="1600200" indent="-228600" eaLnBrk="0" hangingPunct="0">
              <a:lnSpc>
                <a:spcPct val="108000"/>
              </a:lnSpc>
              <a:spcAft>
                <a:spcPct val="42000"/>
              </a:spcAft>
              <a:buSzPct val="75000"/>
              <a:buChar char="•"/>
              <a:defRPr sz="2000">
                <a:solidFill>
                  <a:schemeClr val="tx1"/>
                </a:solidFill>
                <a:latin typeface="CorpoS" pitchFamily="2" charset="0"/>
              </a:defRPr>
            </a:lvl4pPr>
            <a:lvl5pPr marL="2057400" indent="-228600" eaLnBrk="0" hangingPunct="0">
              <a:lnSpc>
                <a:spcPct val="108000"/>
              </a:lnSpc>
              <a:spcAft>
                <a:spcPct val="42000"/>
              </a:spcAft>
              <a:buSzPct val="75000"/>
              <a:buChar char="•"/>
              <a:defRPr sz="2000">
                <a:solidFill>
                  <a:schemeClr val="tx1"/>
                </a:solidFill>
                <a:latin typeface="CorpoS" pitchFamily="2" charset="0"/>
              </a:defRPr>
            </a:lvl5pPr>
            <a:lvl6pPr marL="25146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6pPr>
            <a:lvl7pPr marL="29718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7pPr>
            <a:lvl8pPr marL="34290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8pPr>
            <a:lvl9pPr marL="3886200" indent="-228600" eaLnBrk="0" fontAlgn="base" hangingPunct="0">
              <a:lnSpc>
                <a:spcPct val="108000"/>
              </a:lnSpc>
              <a:spcBef>
                <a:spcPct val="0"/>
              </a:spcBef>
              <a:spcAft>
                <a:spcPct val="42000"/>
              </a:spcAft>
              <a:buSzPct val="75000"/>
              <a:buChar char="•"/>
              <a:defRPr sz="2000">
                <a:solidFill>
                  <a:schemeClr val="tx1"/>
                </a:solidFill>
                <a:latin typeface="CorpoS" pitchFamily="2" charset="0"/>
              </a:defRPr>
            </a:lvl9pPr>
          </a:lstStyle>
          <a:p>
            <a:pPr eaLnBrk="1" hangingPunct="1">
              <a:lnSpc>
                <a:spcPct val="100000"/>
              </a:lnSpc>
              <a:spcAft>
                <a:spcPct val="0"/>
              </a:spcAft>
            </a:pPr>
            <a:endParaRPr lang="en-US" altLang="en-US" sz="1800"/>
          </a:p>
        </p:txBody>
      </p:sp>
      <p:sp>
        <p:nvSpPr>
          <p:cNvPr id="57" name="Freeform 56"/>
          <p:cNvSpPr/>
          <p:nvPr>
            <p:custDataLst>
              <p:tags r:id="rId37"/>
            </p:custDataLst>
          </p:nvPr>
        </p:nvSpPr>
        <p:spPr bwMode="auto">
          <a:xfrm>
            <a:off x="1351907" y="5476876"/>
            <a:ext cx="2466975" cy="644525"/>
          </a:xfrm>
          <a:custGeom>
            <a:avLst/>
            <a:gdLst>
              <a:gd name="connsiteX0" fmla="*/ 204787 w 2243137"/>
              <a:gd name="connsiteY0" fmla="*/ 428625 h 681037"/>
              <a:gd name="connsiteX1" fmla="*/ 347662 w 2243137"/>
              <a:gd name="connsiteY1" fmla="*/ 581025 h 681037"/>
              <a:gd name="connsiteX2" fmla="*/ 561975 w 2243137"/>
              <a:gd name="connsiteY2" fmla="*/ 681037 h 681037"/>
              <a:gd name="connsiteX3" fmla="*/ 1852612 w 2243137"/>
              <a:gd name="connsiteY3" fmla="*/ 681037 h 681037"/>
              <a:gd name="connsiteX4" fmla="*/ 2119312 w 2243137"/>
              <a:gd name="connsiteY4" fmla="*/ 566737 h 681037"/>
              <a:gd name="connsiteX5" fmla="*/ 2243137 w 2243137"/>
              <a:gd name="connsiteY5" fmla="*/ 428625 h 681037"/>
              <a:gd name="connsiteX6" fmla="*/ 1624012 w 2243137"/>
              <a:gd name="connsiteY6" fmla="*/ 147637 h 681037"/>
              <a:gd name="connsiteX7" fmla="*/ 1462087 w 2243137"/>
              <a:gd name="connsiteY7" fmla="*/ 271462 h 681037"/>
              <a:gd name="connsiteX8" fmla="*/ 1390650 w 2243137"/>
              <a:gd name="connsiteY8" fmla="*/ 309562 h 681037"/>
              <a:gd name="connsiteX9" fmla="*/ 419100 w 2243137"/>
              <a:gd name="connsiteY9" fmla="*/ 300037 h 681037"/>
              <a:gd name="connsiteX10" fmla="*/ 0 w 2243137"/>
              <a:gd name="connsiteY10" fmla="*/ 0 h 681037"/>
              <a:gd name="connsiteX11" fmla="*/ 204787 w 2243137"/>
              <a:gd name="connsiteY11" fmla="*/ 428625 h 681037"/>
              <a:gd name="connsiteX0" fmla="*/ 204787 w 2243137"/>
              <a:gd name="connsiteY0" fmla="*/ 428625 h 681037"/>
              <a:gd name="connsiteX1" fmla="*/ 347662 w 2243137"/>
              <a:gd name="connsiteY1" fmla="*/ 581025 h 681037"/>
              <a:gd name="connsiteX2" fmla="*/ 561975 w 2243137"/>
              <a:gd name="connsiteY2" fmla="*/ 681037 h 681037"/>
              <a:gd name="connsiteX3" fmla="*/ 1852612 w 2243137"/>
              <a:gd name="connsiteY3" fmla="*/ 681037 h 681037"/>
              <a:gd name="connsiteX4" fmla="*/ 2119312 w 2243137"/>
              <a:gd name="connsiteY4" fmla="*/ 566737 h 681037"/>
              <a:gd name="connsiteX5" fmla="*/ 2243137 w 2243137"/>
              <a:gd name="connsiteY5" fmla="*/ 428625 h 681037"/>
              <a:gd name="connsiteX6" fmla="*/ 1624012 w 2243137"/>
              <a:gd name="connsiteY6" fmla="*/ 147637 h 681037"/>
              <a:gd name="connsiteX7" fmla="*/ 1462087 w 2243137"/>
              <a:gd name="connsiteY7" fmla="*/ 271462 h 681037"/>
              <a:gd name="connsiteX8" fmla="*/ 1390650 w 2243137"/>
              <a:gd name="connsiteY8" fmla="*/ 309562 h 681037"/>
              <a:gd name="connsiteX9" fmla="*/ 419100 w 2243137"/>
              <a:gd name="connsiteY9" fmla="*/ 300037 h 681037"/>
              <a:gd name="connsiteX10" fmla="*/ 338137 w 2243137"/>
              <a:gd name="connsiteY10" fmla="*/ 242887 h 681037"/>
              <a:gd name="connsiteX11" fmla="*/ 0 w 2243137"/>
              <a:gd name="connsiteY11" fmla="*/ 0 h 681037"/>
              <a:gd name="connsiteX12" fmla="*/ 204787 w 2243137"/>
              <a:gd name="connsiteY12" fmla="*/ 428625 h 681037"/>
              <a:gd name="connsiteX0" fmla="*/ 204787 w 2243137"/>
              <a:gd name="connsiteY0" fmla="*/ 428625 h 681037"/>
              <a:gd name="connsiteX1" fmla="*/ 347662 w 2243137"/>
              <a:gd name="connsiteY1" fmla="*/ 581025 h 681037"/>
              <a:gd name="connsiteX2" fmla="*/ 561975 w 2243137"/>
              <a:gd name="connsiteY2" fmla="*/ 681037 h 681037"/>
              <a:gd name="connsiteX3" fmla="*/ 1852612 w 2243137"/>
              <a:gd name="connsiteY3" fmla="*/ 681037 h 681037"/>
              <a:gd name="connsiteX4" fmla="*/ 2119312 w 2243137"/>
              <a:gd name="connsiteY4" fmla="*/ 566737 h 681037"/>
              <a:gd name="connsiteX5" fmla="*/ 2243137 w 2243137"/>
              <a:gd name="connsiteY5" fmla="*/ 428625 h 681037"/>
              <a:gd name="connsiteX6" fmla="*/ 1624012 w 2243137"/>
              <a:gd name="connsiteY6" fmla="*/ 147637 h 681037"/>
              <a:gd name="connsiteX7" fmla="*/ 1462087 w 2243137"/>
              <a:gd name="connsiteY7" fmla="*/ 271462 h 681037"/>
              <a:gd name="connsiteX8" fmla="*/ 1390650 w 2243137"/>
              <a:gd name="connsiteY8" fmla="*/ 309562 h 681037"/>
              <a:gd name="connsiteX9" fmla="*/ 552450 w 2243137"/>
              <a:gd name="connsiteY9" fmla="*/ 304799 h 681037"/>
              <a:gd name="connsiteX10" fmla="*/ 338137 w 2243137"/>
              <a:gd name="connsiteY10" fmla="*/ 242887 h 681037"/>
              <a:gd name="connsiteX11" fmla="*/ 0 w 2243137"/>
              <a:gd name="connsiteY11" fmla="*/ 0 h 681037"/>
              <a:gd name="connsiteX12" fmla="*/ 204787 w 2243137"/>
              <a:gd name="connsiteY12" fmla="*/ 428625 h 681037"/>
              <a:gd name="connsiteX0" fmla="*/ 204787 w 2243137"/>
              <a:gd name="connsiteY0" fmla="*/ 428625 h 681037"/>
              <a:gd name="connsiteX1" fmla="*/ 347662 w 2243137"/>
              <a:gd name="connsiteY1" fmla="*/ 581025 h 681037"/>
              <a:gd name="connsiteX2" fmla="*/ 561975 w 2243137"/>
              <a:gd name="connsiteY2" fmla="*/ 681037 h 681037"/>
              <a:gd name="connsiteX3" fmla="*/ 1852612 w 2243137"/>
              <a:gd name="connsiteY3" fmla="*/ 681037 h 681037"/>
              <a:gd name="connsiteX4" fmla="*/ 2119312 w 2243137"/>
              <a:gd name="connsiteY4" fmla="*/ 566737 h 681037"/>
              <a:gd name="connsiteX5" fmla="*/ 2243137 w 2243137"/>
              <a:gd name="connsiteY5" fmla="*/ 428625 h 681037"/>
              <a:gd name="connsiteX6" fmla="*/ 1624012 w 2243137"/>
              <a:gd name="connsiteY6" fmla="*/ 147637 h 681037"/>
              <a:gd name="connsiteX7" fmla="*/ 1462087 w 2243137"/>
              <a:gd name="connsiteY7" fmla="*/ 271462 h 681037"/>
              <a:gd name="connsiteX8" fmla="*/ 1304925 w 2243137"/>
              <a:gd name="connsiteY8" fmla="*/ 304799 h 681037"/>
              <a:gd name="connsiteX9" fmla="*/ 552450 w 2243137"/>
              <a:gd name="connsiteY9" fmla="*/ 304799 h 681037"/>
              <a:gd name="connsiteX10" fmla="*/ 338137 w 2243137"/>
              <a:gd name="connsiteY10" fmla="*/ 242887 h 681037"/>
              <a:gd name="connsiteX11" fmla="*/ 0 w 2243137"/>
              <a:gd name="connsiteY11" fmla="*/ 0 h 681037"/>
              <a:gd name="connsiteX12" fmla="*/ 204787 w 2243137"/>
              <a:gd name="connsiteY12" fmla="*/ 428625 h 681037"/>
              <a:gd name="connsiteX0" fmla="*/ 204787 w 2243137"/>
              <a:gd name="connsiteY0" fmla="*/ 428625 h 681037"/>
              <a:gd name="connsiteX1" fmla="*/ 347662 w 2243137"/>
              <a:gd name="connsiteY1" fmla="*/ 581025 h 681037"/>
              <a:gd name="connsiteX2" fmla="*/ 561975 w 2243137"/>
              <a:gd name="connsiteY2" fmla="*/ 681037 h 681037"/>
              <a:gd name="connsiteX3" fmla="*/ 1852612 w 2243137"/>
              <a:gd name="connsiteY3" fmla="*/ 681037 h 681037"/>
              <a:gd name="connsiteX4" fmla="*/ 2119312 w 2243137"/>
              <a:gd name="connsiteY4" fmla="*/ 566737 h 681037"/>
              <a:gd name="connsiteX5" fmla="*/ 2243137 w 2243137"/>
              <a:gd name="connsiteY5" fmla="*/ 428625 h 681037"/>
              <a:gd name="connsiteX6" fmla="*/ 1624012 w 2243137"/>
              <a:gd name="connsiteY6" fmla="*/ 147637 h 681037"/>
              <a:gd name="connsiteX7" fmla="*/ 1462087 w 2243137"/>
              <a:gd name="connsiteY7" fmla="*/ 271462 h 681037"/>
              <a:gd name="connsiteX8" fmla="*/ 1304925 w 2243137"/>
              <a:gd name="connsiteY8" fmla="*/ 304799 h 681037"/>
              <a:gd name="connsiteX9" fmla="*/ 552450 w 2243137"/>
              <a:gd name="connsiteY9" fmla="*/ 304799 h 681037"/>
              <a:gd name="connsiteX10" fmla="*/ 338137 w 2243137"/>
              <a:gd name="connsiteY10" fmla="*/ 242887 h 681037"/>
              <a:gd name="connsiteX11" fmla="*/ 0 w 2243137"/>
              <a:gd name="connsiteY11" fmla="*/ 0 h 681037"/>
              <a:gd name="connsiteX12" fmla="*/ 204787 w 2243137"/>
              <a:gd name="connsiteY12" fmla="*/ 428625 h 681037"/>
              <a:gd name="connsiteX0" fmla="*/ 204787 w 2243137"/>
              <a:gd name="connsiteY0" fmla="*/ 428625 h 681037"/>
              <a:gd name="connsiteX1" fmla="*/ 347662 w 2243137"/>
              <a:gd name="connsiteY1" fmla="*/ 581025 h 681037"/>
              <a:gd name="connsiteX2" fmla="*/ 561975 w 2243137"/>
              <a:gd name="connsiteY2" fmla="*/ 681037 h 681037"/>
              <a:gd name="connsiteX3" fmla="*/ 1852612 w 2243137"/>
              <a:gd name="connsiteY3" fmla="*/ 681037 h 681037"/>
              <a:gd name="connsiteX4" fmla="*/ 2119312 w 2243137"/>
              <a:gd name="connsiteY4" fmla="*/ 566737 h 681037"/>
              <a:gd name="connsiteX5" fmla="*/ 2243137 w 2243137"/>
              <a:gd name="connsiteY5" fmla="*/ 428625 h 681037"/>
              <a:gd name="connsiteX6" fmla="*/ 1624012 w 2243137"/>
              <a:gd name="connsiteY6" fmla="*/ 147637 h 681037"/>
              <a:gd name="connsiteX7" fmla="*/ 1462087 w 2243137"/>
              <a:gd name="connsiteY7" fmla="*/ 271462 h 681037"/>
              <a:gd name="connsiteX8" fmla="*/ 1304925 w 2243137"/>
              <a:gd name="connsiteY8" fmla="*/ 304799 h 681037"/>
              <a:gd name="connsiteX9" fmla="*/ 552450 w 2243137"/>
              <a:gd name="connsiteY9" fmla="*/ 304799 h 681037"/>
              <a:gd name="connsiteX10" fmla="*/ 338137 w 2243137"/>
              <a:gd name="connsiteY10" fmla="*/ 242887 h 681037"/>
              <a:gd name="connsiteX11" fmla="*/ 0 w 2243137"/>
              <a:gd name="connsiteY11" fmla="*/ 0 h 681037"/>
              <a:gd name="connsiteX12" fmla="*/ 204787 w 2243137"/>
              <a:gd name="connsiteY12" fmla="*/ 428625 h 681037"/>
              <a:gd name="connsiteX0" fmla="*/ 204787 w 2243137"/>
              <a:gd name="connsiteY0" fmla="*/ 428625 h 681037"/>
              <a:gd name="connsiteX1" fmla="*/ 347662 w 2243137"/>
              <a:gd name="connsiteY1" fmla="*/ 581025 h 681037"/>
              <a:gd name="connsiteX2" fmla="*/ 561975 w 2243137"/>
              <a:gd name="connsiteY2" fmla="*/ 681037 h 681037"/>
              <a:gd name="connsiteX3" fmla="*/ 1852612 w 2243137"/>
              <a:gd name="connsiteY3" fmla="*/ 681037 h 681037"/>
              <a:gd name="connsiteX4" fmla="*/ 2119312 w 2243137"/>
              <a:gd name="connsiteY4" fmla="*/ 566737 h 681037"/>
              <a:gd name="connsiteX5" fmla="*/ 2243137 w 2243137"/>
              <a:gd name="connsiteY5" fmla="*/ 428625 h 681037"/>
              <a:gd name="connsiteX6" fmla="*/ 1624012 w 2243137"/>
              <a:gd name="connsiteY6" fmla="*/ 147637 h 681037"/>
              <a:gd name="connsiteX7" fmla="*/ 1462087 w 2243137"/>
              <a:gd name="connsiteY7" fmla="*/ 271462 h 681037"/>
              <a:gd name="connsiteX8" fmla="*/ 1304925 w 2243137"/>
              <a:gd name="connsiteY8" fmla="*/ 304799 h 681037"/>
              <a:gd name="connsiteX9" fmla="*/ 552450 w 2243137"/>
              <a:gd name="connsiteY9" fmla="*/ 304799 h 681037"/>
              <a:gd name="connsiteX10" fmla="*/ 338137 w 2243137"/>
              <a:gd name="connsiteY10" fmla="*/ 242887 h 681037"/>
              <a:gd name="connsiteX11" fmla="*/ 0 w 2243137"/>
              <a:gd name="connsiteY11" fmla="*/ 0 h 681037"/>
              <a:gd name="connsiteX12" fmla="*/ 204787 w 2243137"/>
              <a:gd name="connsiteY12" fmla="*/ 428625 h 681037"/>
              <a:gd name="connsiteX0" fmla="*/ 204787 w 2243137"/>
              <a:gd name="connsiteY0" fmla="*/ 428625 h 681037"/>
              <a:gd name="connsiteX1" fmla="*/ 347662 w 2243137"/>
              <a:gd name="connsiteY1" fmla="*/ 581025 h 681037"/>
              <a:gd name="connsiteX2" fmla="*/ 561975 w 2243137"/>
              <a:gd name="connsiteY2" fmla="*/ 681037 h 681037"/>
              <a:gd name="connsiteX3" fmla="*/ 1852612 w 2243137"/>
              <a:gd name="connsiteY3" fmla="*/ 681037 h 681037"/>
              <a:gd name="connsiteX4" fmla="*/ 2119312 w 2243137"/>
              <a:gd name="connsiteY4" fmla="*/ 566737 h 681037"/>
              <a:gd name="connsiteX5" fmla="*/ 2243137 w 2243137"/>
              <a:gd name="connsiteY5" fmla="*/ 428625 h 681037"/>
              <a:gd name="connsiteX6" fmla="*/ 1624012 w 2243137"/>
              <a:gd name="connsiteY6" fmla="*/ 147637 h 681037"/>
              <a:gd name="connsiteX7" fmla="*/ 1462087 w 2243137"/>
              <a:gd name="connsiteY7" fmla="*/ 271462 h 681037"/>
              <a:gd name="connsiteX8" fmla="*/ 1304925 w 2243137"/>
              <a:gd name="connsiteY8" fmla="*/ 304799 h 681037"/>
              <a:gd name="connsiteX9" fmla="*/ 552450 w 2243137"/>
              <a:gd name="connsiteY9" fmla="*/ 304799 h 681037"/>
              <a:gd name="connsiteX10" fmla="*/ 338137 w 2243137"/>
              <a:gd name="connsiteY10" fmla="*/ 242887 h 681037"/>
              <a:gd name="connsiteX11" fmla="*/ 0 w 2243137"/>
              <a:gd name="connsiteY11" fmla="*/ 0 h 681037"/>
              <a:gd name="connsiteX12" fmla="*/ 204787 w 2243137"/>
              <a:gd name="connsiteY12" fmla="*/ 428625 h 681037"/>
              <a:gd name="connsiteX0" fmla="*/ 204787 w 2243137"/>
              <a:gd name="connsiteY0" fmla="*/ 428625 h 694446"/>
              <a:gd name="connsiteX1" fmla="*/ 347662 w 2243137"/>
              <a:gd name="connsiteY1" fmla="*/ 581025 h 694446"/>
              <a:gd name="connsiteX2" fmla="*/ 561975 w 2243137"/>
              <a:gd name="connsiteY2" fmla="*/ 681037 h 694446"/>
              <a:gd name="connsiteX3" fmla="*/ 1852612 w 2243137"/>
              <a:gd name="connsiteY3" fmla="*/ 681037 h 694446"/>
              <a:gd name="connsiteX4" fmla="*/ 2119312 w 2243137"/>
              <a:gd name="connsiteY4" fmla="*/ 566737 h 694446"/>
              <a:gd name="connsiteX5" fmla="*/ 2243137 w 2243137"/>
              <a:gd name="connsiteY5" fmla="*/ 428625 h 694446"/>
              <a:gd name="connsiteX6" fmla="*/ 1624012 w 2243137"/>
              <a:gd name="connsiteY6" fmla="*/ 147637 h 694446"/>
              <a:gd name="connsiteX7" fmla="*/ 1462087 w 2243137"/>
              <a:gd name="connsiteY7" fmla="*/ 271462 h 694446"/>
              <a:gd name="connsiteX8" fmla="*/ 1304925 w 2243137"/>
              <a:gd name="connsiteY8" fmla="*/ 304799 h 694446"/>
              <a:gd name="connsiteX9" fmla="*/ 552450 w 2243137"/>
              <a:gd name="connsiteY9" fmla="*/ 304799 h 694446"/>
              <a:gd name="connsiteX10" fmla="*/ 338137 w 2243137"/>
              <a:gd name="connsiteY10" fmla="*/ 242887 h 694446"/>
              <a:gd name="connsiteX11" fmla="*/ 0 w 2243137"/>
              <a:gd name="connsiteY11" fmla="*/ 0 h 694446"/>
              <a:gd name="connsiteX12" fmla="*/ 204787 w 2243137"/>
              <a:gd name="connsiteY12" fmla="*/ 428625 h 694446"/>
              <a:gd name="connsiteX0" fmla="*/ 204787 w 2243137"/>
              <a:gd name="connsiteY0" fmla="*/ 428625 h 694446"/>
              <a:gd name="connsiteX1" fmla="*/ 347662 w 2243137"/>
              <a:gd name="connsiteY1" fmla="*/ 581025 h 694446"/>
              <a:gd name="connsiteX2" fmla="*/ 561975 w 2243137"/>
              <a:gd name="connsiteY2" fmla="*/ 681037 h 694446"/>
              <a:gd name="connsiteX3" fmla="*/ 1852612 w 2243137"/>
              <a:gd name="connsiteY3" fmla="*/ 681037 h 694446"/>
              <a:gd name="connsiteX4" fmla="*/ 2119312 w 2243137"/>
              <a:gd name="connsiteY4" fmla="*/ 566737 h 694446"/>
              <a:gd name="connsiteX5" fmla="*/ 2243137 w 2243137"/>
              <a:gd name="connsiteY5" fmla="*/ 428625 h 694446"/>
              <a:gd name="connsiteX6" fmla="*/ 1624012 w 2243137"/>
              <a:gd name="connsiteY6" fmla="*/ 147637 h 694446"/>
              <a:gd name="connsiteX7" fmla="*/ 1462087 w 2243137"/>
              <a:gd name="connsiteY7" fmla="*/ 271462 h 694446"/>
              <a:gd name="connsiteX8" fmla="*/ 1304925 w 2243137"/>
              <a:gd name="connsiteY8" fmla="*/ 304799 h 694446"/>
              <a:gd name="connsiteX9" fmla="*/ 552450 w 2243137"/>
              <a:gd name="connsiteY9" fmla="*/ 304799 h 694446"/>
              <a:gd name="connsiteX10" fmla="*/ 338137 w 2243137"/>
              <a:gd name="connsiteY10" fmla="*/ 242887 h 694446"/>
              <a:gd name="connsiteX11" fmla="*/ 0 w 2243137"/>
              <a:gd name="connsiteY11" fmla="*/ 0 h 694446"/>
              <a:gd name="connsiteX12" fmla="*/ 204787 w 2243137"/>
              <a:gd name="connsiteY12" fmla="*/ 428625 h 694446"/>
              <a:gd name="connsiteX0" fmla="*/ 428625 w 2466975"/>
              <a:gd name="connsiteY0" fmla="*/ 428625 h 694446"/>
              <a:gd name="connsiteX1" fmla="*/ 571500 w 2466975"/>
              <a:gd name="connsiteY1" fmla="*/ 581025 h 694446"/>
              <a:gd name="connsiteX2" fmla="*/ 785813 w 2466975"/>
              <a:gd name="connsiteY2" fmla="*/ 681037 h 694446"/>
              <a:gd name="connsiteX3" fmla="*/ 2076450 w 2466975"/>
              <a:gd name="connsiteY3" fmla="*/ 681037 h 694446"/>
              <a:gd name="connsiteX4" fmla="*/ 2343150 w 2466975"/>
              <a:gd name="connsiteY4" fmla="*/ 566737 h 694446"/>
              <a:gd name="connsiteX5" fmla="*/ 2466975 w 2466975"/>
              <a:gd name="connsiteY5" fmla="*/ 428625 h 694446"/>
              <a:gd name="connsiteX6" fmla="*/ 1847850 w 2466975"/>
              <a:gd name="connsiteY6" fmla="*/ 147637 h 694446"/>
              <a:gd name="connsiteX7" fmla="*/ 1685925 w 2466975"/>
              <a:gd name="connsiteY7" fmla="*/ 271462 h 694446"/>
              <a:gd name="connsiteX8" fmla="*/ 1528763 w 2466975"/>
              <a:gd name="connsiteY8" fmla="*/ 304799 h 694446"/>
              <a:gd name="connsiteX9" fmla="*/ 776288 w 2466975"/>
              <a:gd name="connsiteY9" fmla="*/ 304799 h 694446"/>
              <a:gd name="connsiteX10" fmla="*/ 561975 w 2466975"/>
              <a:gd name="connsiteY10" fmla="*/ 242887 h 694446"/>
              <a:gd name="connsiteX11" fmla="*/ 223838 w 2466975"/>
              <a:gd name="connsiteY11" fmla="*/ 0 h 694446"/>
              <a:gd name="connsiteX12" fmla="*/ 0 w 2466975"/>
              <a:gd name="connsiteY12" fmla="*/ 52386 h 694446"/>
              <a:gd name="connsiteX13" fmla="*/ 428625 w 2466975"/>
              <a:gd name="connsiteY13" fmla="*/ 428625 h 694446"/>
              <a:gd name="connsiteX0" fmla="*/ 428625 w 2466975"/>
              <a:gd name="connsiteY0" fmla="*/ 376239 h 642060"/>
              <a:gd name="connsiteX1" fmla="*/ 571500 w 2466975"/>
              <a:gd name="connsiteY1" fmla="*/ 528639 h 642060"/>
              <a:gd name="connsiteX2" fmla="*/ 785813 w 2466975"/>
              <a:gd name="connsiteY2" fmla="*/ 628651 h 642060"/>
              <a:gd name="connsiteX3" fmla="*/ 2076450 w 2466975"/>
              <a:gd name="connsiteY3" fmla="*/ 628651 h 642060"/>
              <a:gd name="connsiteX4" fmla="*/ 2343150 w 2466975"/>
              <a:gd name="connsiteY4" fmla="*/ 514351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561975 w 2466975"/>
              <a:gd name="connsiteY10" fmla="*/ 190501 h 642060"/>
              <a:gd name="connsiteX11" fmla="*/ 0 w 2466975"/>
              <a:gd name="connsiteY11" fmla="*/ 0 h 642060"/>
              <a:gd name="connsiteX12" fmla="*/ 428625 w 2466975"/>
              <a:gd name="connsiteY12" fmla="*/ 376239 h 642060"/>
              <a:gd name="connsiteX0" fmla="*/ 428625 w 2466975"/>
              <a:gd name="connsiteY0" fmla="*/ 376239 h 642060"/>
              <a:gd name="connsiteX1" fmla="*/ 571500 w 2466975"/>
              <a:gd name="connsiteY1" fmla="*/ 528639 h 642060"/>
              <a:gd name="connsiteX2" fmla="*/ 785813 w 2466975"/>
              <a:gd name="connsiteY2" fmla="*/ 628651 h 642060"/>
              <a:gd name="connsiteX3" fmla="*/ 2076450 w 2466975"/>
              <a:gd name="connsiteY3" fmla="*/ 628651 h 642060"/>
              <a:gd name="connsiteX4" fmla="*/ 2343150 w 2466975"/>
              <a:gd name="connsiteY4" fmla="*/ 514351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180975 w 2466975"/>
              <a:gd name="connsiteY10" fmla="*/ 61913 h 642060"/>
              <a:gd name="connsiteX11" fmla="*/ 0 w 2466975"/>
              <a:gd name="connsiteY11" fmla="*/ 0 h 642060"/>
              <a:gd name="connsiteX12" fmla="*/ 428625 w 2466975"/>
              <a:gd name="connsiteY12" fmla="*/ 376239 h 642060"/>
              <a:gd name="connsiteX0" fmla="*/ 428625 w 2466975"/>
              <a:gd name="connsiteY0" fmla="*/ 376239 h 642060"/>
              <a:gd name="connsiteX1" fmla="*/ 457200 w 2466975"/>
              <a:gd name="connsiteY1" fmla="*/ 409577 h 642060"/>
              <a:gd name="connsiteX2" fmla="*/ 785813 w 2466975"/>
              <a:gd name="connsiteY2" fmla="*/ 628651 h 642060"/>
              <a:gd name="connsiteX3" fmla="*/ 2076450 w 2466975"/>
              <a:gd name="connsiteY3" fmla="*/ 628651 h 642060"/>
              <a:gd name="connsiteX4" fmla="*/ 2343150 w 2466975"/>
              <a:gd name="connsiteY4" fmla="*/ 514351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180975 w 2466975"/>
              <a:gd name="connsiteY10" fmla="*/ 61913 h 642060"/>
              <a:gd name="connsiteX11" fmla="*/ 0 w 2466975"/>
              <a:gd name="connsiteY11" fmla="*/ 0 h 642060"/>
              <a:gd name="connsiteX12" fmla="*/ 428625 w 2466975"/>
              <a:gd name="connsiteY12" fmla="*/ 376239 h 642060"/>
              <a:gd name="connsiteX0" fmla="*/ 428625 w 2466975"/>
              <a:gd name="connsiteY0" fmla="*/ 376239 h 642060"/>
              <a:gd name="connsiteX1" fmla="*/ 457200 w 2466975"/>
              <a:gd name="connsiteY1" fmla="*/ 409577 h 642060"/>
              <a:gd name="connsiteX2" fmla="*/ 785813 w 2466975"/>
              <a:gd name="connsiteY2" fmla="*/ 628651 h 642060"/>
              <a:gd name="connsiteX3" fmla="*/ 2076450 w 2466975"/>
              <a:gd name="connsiteY3" fmla="*/ 628651 h 642060"/>
              <a:gd name="connsiteX4" fmla="*/ 2405062 w 2466975"/>
              <a:gd name="connsiteY4" fmla="*/ 452439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180975 w 2466975"/>
              <a:gd name="connsiteY10" fmla="*/ 61913 h 642060"/>
              <a:gd name="connsiteX11" fmla="*/ 0 w 2466975"/>
              <a:gd name="connsiteY11" fmla="*/ 0 h 642060"/>
              <a:gd name="connsiteX12" fmla="*/ 428625 w 2466975"/>
              <a:gd name="connsiteY12" fmla="*/ 376239 h 642060"/>
              <a:gd name="connsiteX0" fmla="*/ 428625 w 2466975"/>
              <a:gd name="connsiteY0" fmla="*/ 376239 h 642060"/>
              <a:gd name="connsiteX1" fmla="*/ 457200 w 2466975"/>
              <a:gd name="connsiteY1" fmla="*/ 409577 h 642060"/>
              <a:gd name="connsiteX2" fmla="*/ 785813 w 2466975"/>
              <a:gd name="connsiteY2" fmla="*/ 628651 h 642060"/>
              <a:gd name="connsiteX3" fmla="*/ 2076450 w 2466975"/>
              <a:gd name="connsiteY3" fmla="*/ 628651 h 642060"/>
              <a:gd name="connsiteX4" fmla="*/ 2405062 w 2466975"/>
              <a:gd name="connsiteY4" fmla="*/ 452439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180975 w 2466975"/>
              <a:gd name="connsiteY10" fmla="*/ 61913 h 642060"/>
              <a:gd name="connsiteX11" fmla="*/ 0 w 2466975"/>
              <a:gd name="connsiteY11" fmla="*/ 0 h 642060"/>
              <a:gd name="connsiteX12" fmla="*/ 428625 w 2466975"/>
              <a:gd name="connsiteY12" fmla="*/ 376239 h 642060"/>
              <a:gd name="connsiteX0" fmla="*/ 428625 w 2466975"/>
              <a:gd name="connsiteY0" fmla="*/ 376239 h 642060"/>
              <a:gd name="connsiteX1" fmla="*/ 457200 w 2466975"/>
              <a:gd name="connsiteY1" fmla="*/ 409577 h 642060"/>
              <a:gd name="connsiteX2" fmla="*/ 785813 w 2466975"/>
              <a:gd name="connsiteY2" fmla="*/ 628651 h 642060"/>
              <a:gd name="connsiteX3" fmla="*/ 2076450 w 2466975"/>
              <a:gd name="connsiteY3" fmla="*/ 628651 h 642060"/>
              <a:gd name="connsiteX4" fmla="*/ 2405062 w 2466975"/>
              <a:gd name="connsiteY4" fmla="*/ 452439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180975 w 2466975"/>
              <a:gd name="connsiteY10" fmla="*/ 61913 h 642060"/>
              <a:gd name="connsiteX11" fmla="*/ 0 w 2466975"/>
              <a:gd name="connsiteY11" fmla="*/ 0 h 642060"/>
              <a:gd name="connsiteX12" fmla="*/ 428625 w 2466975"/>
              <a:gd name="connsiteY12" fmla="*/ 376239 h 642060"/>
              <a:gd name="connsiteX0" fmla="*/ 428625 w 2466975"/>
              <a:gd name="connsiteY0" fmla="*/ 376239 h 642060"/>
              <a:gd name="connsiteX1" fmla="*/ 457200 w 2466975"/>
              <a:gd name="connsiteY1" fmla="*/ 409577 h 642060"/>
              <a:gd name="connsiteX2" fmla="*/ 785813 w 2466975"/>
              <a:gd name="connsiteY2" fmla="*/ 628651 h 642060"/>
              <a:gd name="connsiteX3" fmla="*/ 2076450 w 2466975"/>
              <a:gd name="connsiteY3" fmla="*/ 628651 h 642060"/>
              <a:gd name="connsiteX4" fmla="*/ 2405062 w 2466975"/>
              <a:gd name="connsiteY4" fmla="*/ 452439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180975 w 2466975"/>
              <a:gd name="connsiteY10" fmla="*/ 61913 h 642060"/>
              <a:gd name="connsiteX11" fmla="*/ 0 w 2466975"/>
              <a:gd name="connsiteY11" fmla="*/ 0 h 642060"/>
              <a:gd name="connsiteX12" fmla="*/ 428625 w 2466975"/>
              <a:gd name="connsiteY12" fmla="*/ 376239 h 642060"/>
              <a:gd name="connsiteX0" fmla="*/ 428625 w 2466975"/>
              <a:gd name="connsiteY0" fmla="*/ 376239 h 642060"/>
              <a:gd name="connsiteX1" fmla="*/ 457200 w 2466975"/>
              <a:gd name="connsiteY1" fmla="*/ 409577 h 642060"/>
              <a:gd name="connsiteX2" fmla="*/ 785813 w 2466975"/>
              <a:gd name="connsiteY2" fmla="*/ 628651 h 642060"/>
              <a:gd name="connsiteX3" fmla="*/ 2076450 w 2466975"/>
              <a:gd name="connsiteY3" fmla="*/ 628651 h 642060"/>
              <a:gd name="connsiteX4" fmla="*/ 2405062 w 2466975"/>
              <a:gd name="connsiteY4" fmla="*/ 452439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180975 w 2466975"/>
              <a:gd name="connsiteY10" fmla="*/ 61913 h 642060"/>
              <a:gd name="connsiteX11" fmla="*/ 0 w 2466975"/>
              <a:gd name="connsiteY11" fmla="*/ 0 h 642060"/>
              <a:gd name="connsiteX12" fmla="*/ 428625 w 2466975"/>
              <a:gd name="connsiteY12" fmla="*/ 376239 h 642060"/>
              <a:gd name="connsiteX0" fmla="*/ 428625 w 2466975"/>
              <a:gd name="connsiteY0" fmla="*/ 376239 h 642060"/>
              <a:gd name="connsiteX1" fmla="*/ 457200 w 2466975"/>
              <a:gd name="connsiteY1" fmla="*/ 409577 h 642060"/>
              <a:gd name="connsiteX2" fmla="*/ 785813 w 2466975"/>
              <a:gd name="connsiteY2" fmla="*/ 628651 h 642060"/>
              <a:gd name="connsiteX3" fmla="*/ 2076450 w 2466975"/>
              <a:gd name="connsiteY3" fmla="*/ 628651 h 642060"/>
              <a:gd name="connsiteX4" fmla="*/ 2405062 w 2466975"/>
              <a:gd name="connsiteY4" fmla="*/ 452439 h 642060"/>
              <a:gd name="connsiteX5" fmla="*/ 2466975 w 2466975"/>
              <a:gd name="connsiteY5" fmla="*/ 376239 h 642060"/>
              <a:gd name="connsiteX6" fmla="*/ 1847850 w 2466975"/>
              <a:gd name="connsiteY6" fmla="*/ 95251 h 642060"/>
              <a:gd name="connsiteX7" fmla="*/ 1685925 w 2466975"/>
              <a:gd name="connsiteY7" fmla="*/ 219076 h 642060"/>
              <a:gd name="connsiteX8" fmla="*/ 1528763 w 2466975"/>
              <a:gd name="connsiteY8" fmla="*/ 252413 h 642060"/>
              <a:gd name="connsiteX9" fmla="*/ 776288 w 2466975"/>
              <a:gd name="connsiteY9" fmla="*/ 252413 h 642060"/>
              <a:gd name="connsiteX10" fmla="*/ 180975 w 2466975"/>
              <a:gd name="connsiteY10" fmla="*/ 61913 h 642060"/>
              <a:gd name="connsiteX11" fmla="*/ 0 w 2466975"/>
              <a:gd name="connsiteY11" fmla="*/ 0 h 642060"/>
              <a:gd name="connsiteX12" fmla="*/ 428625 w 2466975"/>
              <a:gd name="connsiteY12" fmla="*/ 376239 h 642060"/>
              <a:gd name="connsiteX0" fmla="*/ 428625 w 2466975"/>
              <a:gd name="connsiteY0" fmla="*/ 377540 h 643361"/>
              <a:gd name="connsiteX1" fmla="*/ 457200 w 2466975"/>
              <a:gd name="connsiteY1" fmla="*/ 410878 h 643361"/>
              <a:gd name="connsiteX2" fmla="*/ 785813 w 2466975"/>
              <a:gd name="connsiteY2" fmla="*/ 629952 h 643361"/>
              <a:gd name="connsiteX3" fmla="*/ 2076450 w 2466975"/>
              <a:gd name="connsiteY3" fmla="*/ 629952 h 643361"/>
              <a:gd name="connsiteX4" fmla="*/ 2405062 w 2466975"/>
              <a:gd name="connsiteY4" fmla="*/ 453740 h 643361"/>
              <a:gd name="connsiteX5" fmla="*/ 2466975 w 2466975"/>
              <a:gd name="connsiteY5" fmla="*/ 377540 h 643361"/>
              <a:gd name="connsiteX6" fmla="*/ 1847850 w 2466975"/>
              <a:gd name="connsiteY6" fmla="*/ 96552 h 643361"/>
              <a:gd name="connsiteX7" fmla="*/ 1685925 w 2466975"/>
              <a:gd name="connsiteY7" fmla="*/ 220377 h 643361"/>
              <a:gd name="connsiteX8" fmla="*/ 1528763 w 2466975"/>
              <a:gd name="connsiteY8" fmla="*/ 253714 h 643361"/>
              <a:gd name="connsiteX9" fmla="*/ 776288 w 2466975"/>
              <a:gd name="connsiteY9" fmla="*/ 253714 h 643361"/>
              <a:gd name="connsiteX10" fmla="*/ 0 w 2466975"/>
              <a:gd name="connsiteY10" fmla="*/ 1301 h 643361"/>
              <a:gd name="connsiteX11" fmla="*/ 428625 w 2466975"/>
              <a:gd name="connsiteY11" fmla="*/ 377540 h 643361"/>
              <a:gd name="connsiteX0" fmla="*/ 428625 w 2466975"/>
              <a:gd name="connsiteY0" fmla="*/ 377744 h 643565"/>
              <a:gd name="connsiteX1" fmla="*/ 457200 w 2466975"/>
              <a:gd name="connsiteY1" fmla="*/ 411082 h 643565"/>
              <a:gd name="connsiteX2" fmla="*/ 785813 w 2466975"/>
              <a:gd name="connsiteY2" fmla="*/ 630156 h 643565"/>
              <a:gd name="connsiteX3" fmla="*/ 2076450 w 2466975"/>
              <a:gd name="connsiteY3" fmla="*/ 630156 h 643565"/>
              <a:gd name="connsiteX4" fmla="*/ 2405062 w 2466975"/>
              <a:gd name="connsiteY4" fmla="*/ 453944 h 643565"/>
              <a:gd name="connsiteX5" fmla="*/ 2466975 w 2466975"/>
              <a:gd name="connsiteY5" fmla="*/ 377744 h 643565"/>
              <a:gd name="connsiteX6" fmla="*/ 1847850 w 2466975"/>
              <a:gd name="connsiteY6" fmla="*/ 96756 h 643565"/>
              <a:gd name="connsiteX7" fmla="*/ 1685925 w 2466975"/>
              <a:gd name="connsiteY7" fmla="*/ 220581 h 643565"/>
              <a:gd name="connsiteX8" fmla="*/ 1528763 w 2466975"/>
              <a:gd name="connsiteY8" fmla="*/ 253918 h 643565"/>
              <a:gd name="connsiteX9" fmla="*/ 542925 w 2466975"/>
              <a:gd name="connsiteY9" fmla="*/ 220581 h 643565"/>
              <a:gd name="connsiteX10" fmla="*/ 0 w 2466975"/>
              <a:gd name="connsiteY10" fmla="*/ 1505 h 643565"/>
              <a:gd name="connsiteX11" fmla="*/ 428625 w 2466975"/>
              <a:gd name="connsiteY11" fmla="*/ 377744 h 643565"/>
              <a:gd name="connsiteX0" fmla="*/ 428625 w 2466975"/>
              <a:gd name="connsiteY0" fmla="*/ 377744 h 643565"/>
              <a:gd name="connsiteX1" fmla="*/ 457200 w 2466975"/>
              <a:gd name="connsiteY1" fmla="*/ 411082 h 643565"/>
              <a:gd name="connsiteX2" fmla="*/ 785813 w 2466975"/>
              <a:gd name="connsiteY2" fmla="*/ 630156 h 643565"/>
              <a:gd name="connsiteX3" fmla="*/ 2076450 w 2466975"/>
              <a:gd name="connsiteY3" fmla="*/ 630156 h 643565"/>
              <a:gd name="connsiteX4" fmla="*/ 2405062 w 2466975"/>
              <a:gd name="connsiteY4" fmla="*/ 453944 h 643565"/>
              <a:gd name="connsiteX5" fmla="*/ 2466975 w 2466975"/>
              <a:gd name="connsiteY5" fmla="*/ 377744 h 643565"/>
              <a:gd name="connsiteX6" fmla="*/ 1847850 w 2466975"/>
              <a:gd name="connsiteY6" fmla="*/ 96756 h 643565"/>
              <a:gd name="connsiteX7" fmla="*/ 1785938 w 2466975"/>
              <a:gd name="connsiteY7" fmla="*/ 144381 h 643565"/>
              <a:gd name="connsiteX8" fmla="*/ 1528763 w 2466975"/>
              <a:gd name="connsiteY8" fmla="*/ 253918 h 643565"/>
              <a:gd name="connsiteX9" fmla="*/ 542925 w 2466975"/>
              <a:gd name="connsiteY9" fmla="*/ 220581 h 643565"/>
              <a:gd name="connsiteX10" fmla="*/ 0 w 2466975"/>
              <a:gd name="connsiteY10" fmla="*/ 1505 h 643565"/>
              <a:gd name="connsiteX11" fmla="*/ 428625 w 2466975"/>
              <a:gd name="connsiteY11" fmla="*/ 377744 h 643565"/>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1847850 w 2466975"/>
              <a:gd name="connsiteY6" fmla="*/ 96579 h 643388"/>
              <a:gd name="connsiteX7" fmla="*/ 1785938 w 2466975"/>
              <a:gd name="connsiteY7" fmla="*/ 144204 h 643388"/>
              <a:gd name="connsiteX8" fmla="*/ 1528763 w 2466975"/>
              <a:gd name="connsiteY8" fmla="*/ 253741 h 643388"/>
              <a:gd name="connsiteX9" fmla="*/ 395288 w 2466975"/>
              <a:gd name="connsiteY9" fmla="*/ 248979 h 643388"/>
              <a:gd name="connsiteX10" fmla="*/ 0 w 2466975"/>
              <a:gd name="connsiteY10" fmla="*/ 1328 h 643388"/>
              <a:gd name="connsiteX11" fmla="*/ 428625 w 2466975"/>
              <a:gd name="connsiteY11"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1785938 w 2466975"/>
              <a:gd name="connsiteY7" fmla="*/ 144204 h 643388"/>
              <a:gd name="connsiteX8" fmla="*/ 1528763 w 2466975"/>
              <a:gd name="connsiteY8" fmla="*/ 253741 h 643388"/>
              <a:gd name="connsiteX9" fmla="*/ 395288 w 2466975"/>
              <a:gd name="connsiteY9" fmla="*/ 248979 h 643388"/>
              <a:gd name="connsiteX10" fmla="*/ 0 w 2466975"/>
              <a:gd name="connsiteY10" fmla="*/ 1328 h 643388"/>
              <a:gd name="connsiteX11" fmla="*/ 428625 w 2466975"/>
              <a:gd name="connsiteY11"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1905000 w 2466975"/>
              <a:gd name="connsiteY7" fmla="*/ 182304 h 643388"/>
              <a:gd name="connsiteX8" fmla="*/ 1528763 w 2466975"/>
              <a:gd name="connsiteY8" fmla="*/ 253741 h 643388"/>
              <a:gd name="connsiteX9" fmla="*/ 395288 w 2466975"/>
              <a:gd name="connsiteY9" fmla="*/ 248979 h 643388"/>
              <a:gd name="connsiteX10" fmla="*/ 0 w 2466975"/>
              <a:gd name="connsiteY10" fmla="*/ 1328 h 643388"/>
              <a:gd name="connsiteX11" fmla="*/ 428625 w 2466975"/>
              <a:gd name="connsiteY11"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1936750 w 2466975"/>
              <a:gd name="connsiteY7" fmla="*/ 134548 h 643388"/>
              <a:gd name="connsiteX8" fmla="*/ 1905000 w 2466975"/>
              <a:gd name="connsiteY8" fmla="*/ 182304 h 643388"/>
              <a:gd name="connsiteX9" fmla="*/ 1528763 w 2466975"/>
              <a:gd name="connsiteY9" fmla="*/ 253741 h 643388"/>
              <a:gd name="connsiteX10" fmla="*/ 395288 w 2466975"/>
              <a:gd name="connsiteY10" fmla="*/ 248979 h 643388"/>
              <a:gd name="connsiteX11" fmla="*/ 0 w 2466975"/>
              <a:gd name="connsiteY11" fmla="*/ 1328 h 643388"/>
              <a:gd name="connsiteX12" fmla="*/ 428625 w 2466975"/>
              <a:gd name="connsiteY12"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1936750 w 2466975"/>
              <a:gd name="connsiteY7" fmla="*/ 134548 h 643388"/>
              <a:gd name="connsiteX8" fmla="*/ 1857375 w 2466975"/>
              <a:gd name="connsiteY8" fmla="*/ 201354 h 643388"/>
              <a:gd name="connsiteX9" fmla="*/ 1528763 w 2466975"/>
              <a:gd name="connsiteY9" fmla="*/ 253741 h 643388"/>
              <a:gd name="connsiteX10" fmla="*/ 395288 w 2466975"/>
              <a:gd name="connsiteY10" fmla="*/ 248979 h 643388"/>
              <a:gd name="connsiteX11" fmla="*/ 0 w 2466975"/>
              <a:gd name="connsiteY11" fmla="*/ 1328 h 643388"/>
              <a:gd name="connsiteX12" fmla="*/ 428625 w 2466975"/>
              <a:gd name="connsiteY12"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2003425 w 2466975"/>
              <a:gd name="connsiteY7" fmla="*/ 53585 h 643388"/>
              <a:gd name="connsiteX8" fmla="*/ 1857375 w 2466975"/>
              <a:gd name="connsiteY8" fmla="*/ 201354 h 643388"/>
              <a:gd name="connsiteX9" fmla="*/ 1528763 w 2466975"/>
              <a:gd name="connsiteY9" fmla="*/ 253741 h 643388"/>
              <a:gd name="connsiteX10" fmla="*/ 395288 w 2466975"/>
              <a:gd name="connsiteY10" fmla="*/ 248979 h 643388"/>
              <a:gd name="connsiteX11" fmla="*/ 0 w 2466975"/>
              <a:gd name="connsiteY11" fmla="*/ 1328 h 643388"/>
              <a:gd name="connsiteX12" fmla="*/ 428625 w 2466975"/>
              <a:gd name="connsiteY12"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2003425 w 2466975"/>
              <a:gd name="connsiteY7" fmla="*/ 53585 h 643388"/>
              <a:gd name="connsiteX8" fmla="*/ 1927225 w 2466975"/>
              <a:gd name="connsiteY8" fmla="*/ 129785 h 643388"/>
              <a:gd name="connsiteX9" fmla="*/ 1857375 w 2466975"/>
              <a:gd name="connsiteY9" fmla="*/ 201354 h 643388"/>
              <a:gd name="connsiteX10" fmla="*/ 1528763 w 2466975"/>
              <a:gd name="connsiteY10" fmla="*/ 253741 h 643388"/>
              <a:gd name="connsiteX11" fmla="*/ 395288 w 2466975"/>
              <a:gd name="connsiteY11" fmla="*/ 248979 h 643388"/>
              <a:gd name="connsiteX12" fmla="*/ 0 w 2466975"/>
              <a:gd name="connsiteY12" fmla="*/ 1328 h 643388"/>
              <a:gd name="connsiteX13" fmla="*/ 428625 w 2466975"/>
              <a:gd name="connsiteY13"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2003425 w 2466975"/>
              <a:gd name="connsiteY7" fmla="*/ 53585 h 643388"/>
              <a:gd name="connsiteX8" fmla="*/ 1857375 w 2466975"/>
              <a:gd name="connsiteY8" fmla="*/ 201354 h 643388"/>
              <a:gd name="connsiteX9" fmla="*/ 1528763 w 2466975"/>
              <a:gd name="connsiteY9" fmla="*/ 253741 h 643388"/>
              <a:gd name="connsiteX10" fmla="*/ 395288 w 2466975"/>
              <a:gd name="connsiteY10" fmla="*/ 248979 h 643388"/>
              <a:gd name="connsiteX11" fmla="*/ 0 w 2466975"/>
              <a:gd name="connsiteY11" fmla="*/ 1328 h 643388"/>
              <a:gd name="connsiteX12" fmla="*/ 428625 w 2466975"/>
              <a:gd name="connsiteY12"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2003425 w 2466975"/>
              <a:gd name="connsiteY7" fmla="*/ 53585 h 643388"/>
              <a:gd name="connsiteX8" fmla="*/ 1795463 w 2466975"/>
              <a:gd name="connsiteY8" fmla="*/ 220404 h 643388"/>
              <a:gd name="connsiteX9" fmla="*/ 1528763 w 2466975"/>
              <a:gd name="connsiteY9" fmla="*/ 253741 h 643388"/>
              <a:gd name="connsiteX10" fmla="*/ 395288 w 2466975"/>
              <a:gd name="connsiteY10" fmla="*/ 248979 h 643388"/>
              <a:gd name="connsiteX11" fmla="*/ 0 w 2466975"/>
              <a:gd name="connsiteY11" fmla="*/ 1328 h 643388"/>
              <a:gd name="connsiteX12" fmla="*/ 428625 w 2466975"/>
              <a:gd name="connsiteY12"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2003425 w 2466975"/>
              <a:gd name="connsiteY7" fmla="*/ 53585 h 643388"/>
              <a:gd name="connsiteX8" fmla="*/ 1795463 w 2466975"/>
              <a:gd name="connsiteY8" fmla="*/ 220404 h 643388"/>
              <a:gd name="connsiteX9" fmla="*/ 1528763 w 2466975"/>
              <a:gd name="connsiteY9" fmla="*/ 253741 h 643388"/>
              <a:gd name="connsiteX10" fmla="*/ 395288 w 2466975"/>
              <a:gd name="connsiteY10" fmla="*/ 248979 h 643388"/>
              <a:gd name="connsiteX11" fmla="*/ 0 w 2466975"/>
              <a:gd name="connsiteY11" fmla="*/ 1328 h 643388"/>
              <a:gd name="connsiteX12" fmla="*/ 428625 w 2466975"/>
              <a:gd name="connsiteY12"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2003425 w 2466975"/>
              <a:gd name="connsiteY7" fmla="*/ 53585 h 643388"/>
              <a:gd name="connsiteX8" fmla="*/ 1795463 w 2466975"/>
              <a:gd name="connsiteY8" fmla="*/ 220404 h 643388"/>
              <a:gd name="connsiteX9" fmla="*/ 395288 w 2466975"/>
              <a:gd name="connsiteY9" fmla="*/ 248979 h 643388"/>
              <a:gd name="connsiteX10" fmla="*/ 0 w 2466975"/>
              <a:gd name="connsiteY10" fmla="*/ 1328 h 643388"/>
              <a:gd name="connsiteX11" fmla="*/ 428625 w 2466975"/>
              <a:gd name="connsiteY11"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2003425 w 2466975"/>
              <a:gd name="connsiteY7" fmla="*/ 53585 h 643388"/>
              <a:gd name="connsiteX8" fmla="*/ 1762126 w 2466975"/>
              <a:gd name="connsiteY8" fmla="*/ 220404 h 643388"/>
              <a:gd name="connsiteX9" fmla="*/ 395288 w 2466975"/>
              <a:gd name="connsiteY9" fmla="*/ 248979 h 643388"/>
              <a:gd name="connsiteX10" fmla="*/ 0 w 2466975"/>
              <a:gd name="connsiteY10" fmla="*/ 1328 h 643388"/>
              <a:gd name="connsiteX11" fmla="*/ 428625 w 2466975"/>
              <a:gd name="connsiteY11" fmla="*/ 377567 h 643388"/>
              <a:gd name="connsiteX0" fmla="*/ 428625 w 2466975"/>
              <a:gd name="connsiteY0" fmla="*/ 377567 h 643388"/>
              <a:gd name="connsiteX1" fmla="*/ 457200 w 2466975"/>
              <a:gd name="connsiteY1" fmla="*/ 410905 h 643388"/>
              <a:gd name="connsiteX2" fmla="*/ 785813 w 2466975"/>
              <a:gd name="connsiteY2" fmla="*/ 629979 h 643388"/>
              <a:gd name="connsiteX3" fmla="*/ 2076450 w 2466975"/>
              <a:gd name="connsiteY3" fmla="*/ 629979 h 643388"/>
              <a:gd name="connsiteX4" fmla="*/ 2405062 w 2466975"/>
              <a:gd name="connsiteY4" fmla="*/ 453767 h 643388"/>
              <a:gd name="connsiteX5" fmla="*/ 2466975 w 2466975"/>
              <a:gd name="connsiteY5" fmla="*/ 377567 h 643388"/>
              <a:gd name="connsiteX6" fmla="*/ 2052638 w 2466975"/>
              <a:gd name="connsiteY6" fmla="*/ 1329 h 643388"/>
              <a:gd name="connsiteX7" fmla="*/ 1979613 w 2466975"/>
              <a:gd name="connsiteY7" fmla="*/ 129785 h 643388"/>
              <a:gd name="connsiteX8" fmla="*/ 1762126 w 2466975"/>
              <a:gd name="connsiteY8" fmla="*/ 220404 h 643388"/>
              <a:gd name="connsiteX9" fmla="*/ 395288 w 2466975"/>
              <a:gd name="connsiteY9" fmla="*/ 248979 h 643388"/>
              <a:gd name="connsiteX10" fmla="*/ 0 w 2466975"/>
              <a:gd name="connsiteY10" fmla="*/ 1328 h 643388"/>
              <a:gd name="connsiteX11" fmla="*/ 428625 w 2466975"/>
              <a:gd name="connsiteY11" fmla="*/ 377567 h 64338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52638 w 2466975"/>
              <a:gd name="connsiteY6" fmla="*/ 1329 h 646118"/>
              <a:gd name="connsiteX7" fmla="*/ 1979613 w 2466975"/>
              <a:gd name="connsiteY7" fmla="*/ 129785 h 646118"/>
              <a:gd name="connsiteX8" fmla="*/ 1762126 w 2466975"/>
              <a:gd name="connsiteY8" fmla="*/ 220404 h 646118"/>
              <a:gd name="connsiteX9" fmla="*/ 395288 w 2466975"/>
              <a:gd name="connsiteY9" fmla="*/ 248979 h 646118"/>
              <a:gd name="connsiteX10" fmla="*/ 0 w 2466975"/>
              <a:gd name="connsiteY10" fmla="*/ 1328 h 646118"/>
              <a:gd name="connsiteX11" fmla="*/ 428625 w 2466975"/>
              <a:gd name="connsiteY11"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52638 w 2466975"/>
              <a:gd name="connsiteY6" fmla="*/ 1329 h 646118"/>
              <a:gd name="connsiteX7" fmla="*/ 1979613 w 2466975"/>
              <a:gd name="connsiteY7" fmla="*/ 129785 h 646118"/>
              <a:gd name="connsiteX8" fmla="*/ 1647826 w 2466975"/>
              <a:gd name="connsiteY8" fmla="*/ 239454 h 646118"/>
              <a:gd name="connsiteX9" fmla="*/ 395288 w 2466975"/>
              <a:gd name="connsiteY9" fmla="*/ 248979 h 646118"/>
              <a:gd name="connsiteX10" fmla="*/ 0 w 2466975"/>
              <a:gd name="connsiteY10" fmla="*/ 1328 h 646118"/>
              <a:gd name="connsiteX11" fmla="*/ 428625 w 2466975"/>
              <a:gd name="connsiteY11"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52638 w 2466975"/>
              <a:gd name="connsiteY6" fmla="*/ 1329 h 646118"/>
              <a:gd name="connsiteX7" fmla="*/ 2008188 w 2466975"/>
              <a:gd name="connsiteY7" fmla="*/ 82160 h 646118"/>
              <a:gd name="connsiteX8" fmla="*/ 1647826 w 2466975"/>
              <a:gd name="connsiteY8" fmla="*/ 239454 h 646118"/>
              <a:gd name="connsiteX9" fmla="*/ 395288 w 2466975"/>
              <a:gd name="connsiteY9" fmla="*/ 248979 h 646118"/>
              <a:gd name="connsiteX10" fmla="*/ 0 w 2466975"/>
              <a:gd name="connsiteY10" fmla="*/ 1328 h 646118"/>
              <a:gd name="connsiteX11" fmla="*/ 428625 w 2466975"/>
              <a:gd name="connsiteY11"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52638 w 2466975"/>
              <a:gd name="connsiteY6" fmla="*/ 1329 h 646118"/>
              <a:gd name="connsiteX7" fmla="*/ 2008188 w 2466975"/>
              <a:gd name="connsiteY7" fmla="*/ 82160 h 646118"/>
              <a:gd name="connsiteX8" fmla="*/ 1803400 w 2466975"/>
              <a:gd name="connsiteY8" fmla="*/ 172648 h 646118"/>
              <a:gd name="connsiteX9" fmla="*/ 1647826 w 2466975"/>
              <a:gd name="connsiteY9" fmla="*/ 239454 h 646118"/>
              <a:gd name="connsiteX10" fmla="*/ 395288 w 2466975"/>
              <a:gd name="connsiteY10" fmla="*/ 248979 h 646118"/>
              <a:gd name="connsiteX11" fmla="*/ 0 w 2466975"/>
              <a:gd name="connsiteY11" fmla="*/ 1328 h 646118"/>
              <a:gd name="connsiteX12" fmla="*/ 428625 w 2466975"/>
              <a:gd name="connsiteY12"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52638 w 2466975"/>
              <a:gd name="connsiteY6" fmla="*/ 1329 h 646118"/>
              <a:gd name="connsiteX7" fmla="*/ 2008188 w 2466975"/>
              <a:gd name="connsiteY7" fmla="*/ 82160 h 646118"/>
              <a:gd name="connsiteX8" fmla="*/ 1860550 w 2466975"/>
              <a:gd name="connsiteY8" fmla="*/ 201223 h 646118"/>
              <a:gd name="connsiteX9" fmla="*/ 1647826 w 2466975"/>
              <a:gd name="connsiteY9" fmla="*/ 239454 h 646118"/>
              <a:gd name="connsiteX10" fmla="*/ 395288 w 2466975"/>
              <a:gd name="connsiteY10" fmla="*/ 248979 h 646118"/>
              <a:gd name="connsiteX11" fmla="*/ 0 w 2466975"/>
              <a:gd name="connsiteY11" fmla="*/ 1328 h 646118"/>
              <a:gd name="connsiteX12" fmla="*/ 428625 w 2466975"/>
              <a:gd name="connsiteY12"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52638 w 2466975"/>
              <a:gd name="connsiteY6" fmla="*/ 1329 h 646118"/>
              <a:gd name="connsiteX7" fmla="*/ 2008188 w 2466975"/>
              <a:gd name="connsiteY7" fmla="*/ 82160 h 646118"/>
              <a:gd name="connsiteX8" fmla="*/ 1647826 w 2466975"/>
              <a:gd name="connsiteY8" fmla="*/ 239454 h 646118"/>
              <a:gd name="connsiteX9" fmla="*/ 395288 w 2466975"/>
              <a:gd name="connsiteY9" fmla="*/ 248979 h 646118"/>
              <a:gd name="connsiteX10" fmla="*/ 0 w 2466975"/>
              <a:gd name="connsiteY10" fmla="*/ 1328 h 646118"/>
              <a:gd name="connsiteX11" fmla="*/ 428625 w 2466975"/>
              <a:gd name="connsiteY11"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52638 w 2466975"/>
              <a:gd name="connsiteY6" fmla="*/ 1329 h 646118"/>
              <a:gd name="connsiteX7" fmla="*/ 1974851 w 2466975"/>
              <a:gd name="connsiteY7" fmla="*/ 91685 h 646118"/>
              <a:gd name="connsiteX8" fmla="*/ 1647826 w 2466975"/>
              <a:gd name="connsiteY8" fmla="*/ 239454 h 646118"/>
              <a:gd name="connsiteX9" fmla="*/ 395288 w 2466975"/>
              <a:gd name="connsiteY9" fmla="*/ 248979 h 646118"/>
              <a:gd name="connsiteX10" fmla="*/ 0 w 2466975"/>
              <a:gd name="connsiteY10" fmla="*/ 1328 h 646118"/>
              <a:gd name="connsiteX11" fmla="*/ 428625 w 2466975"/>
              <a:gd name="connsiteY11"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52638 w 2466975"/>
              <a:gd name="connsiteY6" fmla="*/ 1329 h 646118"/>
              <a:gd name="connsiteX7" fmla="*/ 1989138 w 2466975"/>
              <a:gd name="connsiteY7" fmla="*/ 105972 h 646118"/>
              <a:gd name="connsiteX8" fmla="*/ 1647826 w 2466975"/>
              <a:gd name="connsiteY8" fmla="*/ 239454 h 646118"/>
              <a:gd name="connsiteX9" fmla="*/ 395288 w 2466975"/>
              <a:gd name="connsiteY9" fmla="*/ 248979 h 646118"/>
              <a:gd name="connsiteX10" fmla="*/ 0 w 2466975"/>
              <a:gd name="connsiteY10" fmla="*/ 1328 h 646118"/>
              <a:gd name="connsiteX11" fmla="*/ 428625 w 2466975"/>
              <a:gd name="connsiteY11"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78831 w 2466975"/>
              <a:gd name="connsiteY6" fmla="*/ 29904 h 646118"/>
              <a:gd name="connsiteX7" fmla="*/ 1989138 w 2466975"/>
              <a:gd name="connsiteY7" fmla="*/ 105972 h 646118"/>
              <a:gd name="connsiteX8" fmla="*/ 1647826 w 2466975"/>
              <a:gd name="connsiteY8" fmla="*/ 239454 h 646118"/>
              <a:gd name="connsiteX9" fmla="*/ 395288 w 2466975"/>
              <a:gd name="connsiteY9" fmla="*/ 248979 h 646118"/>
              <a:gd name="connsiteX10" fmla="*/ 0 w 2466975"/>
              <a:gd name="connsiteY10" fmla="*/ 1328 h 646118"/>
              <a:gd name="connsiteX11" fmla="*/ 428625 w 2466975"/>
              <a:gd name="connsiteY11" fmla="*/ 377567 h 646118"/>
              <a:gd name="connsiteX0" fmla="*/ 428625 w 2466975"/>
              <a:gd name="connsiteY0" fmla="*/ 377567 h 646118"/>
              <a:gd name="connsiteX1" fmla="*/ 457200 w 2466975"/>
              <a:gd name="connsiteY1" fmla="*/ 410905 h 646118"/>
              <a:gd name="connsiteX2" fmla="*/ 785813 w 2466975"/>
              <a:gd name="connsiteY2" fmla="*/ 629979 h 646118"/>
              <a:gd name="connsiteX3" fmla="*/ 2009775 w 2466975"/>
              <a:gd name="connsiteY3" fmla="*/ 634742 h 646118"/>
              <a:gd name="connsiteX4" fmla="*/ 2405062 w 2466975"/>
              <a:gd name="connsiteY4" fmla="*/ 453767 h 646118"/>
              <a:gd name="connsiteX5" fmla="*/ 2466975 w 2466975"/>
              <a:gd name="connsiteY5" fmla="*/ 377567 h 646118"/>
              <a:gd name="connsiteX6" fmla="*/ 2066925 w 2466975"/>
              <a:gd name="connsiteY6" fmla="*/ 8472 h 646118"/>
              <a:gd name="connsiteX7" fmla="*/ 1989138 w 2466975"/>
              <a:gd name="connsiteY7" fmla="*/ 105972 h 646118"/>
              <a:gd name="connsiteX8" fmla="*/ 1647826 w 2466975"/>
              <a:gd name="connsiteY8" fmla="*/ 239454 h 646118"/>
              <a:gd name="connsiteX9" fmla="*/ 395288 w 2466975"/>
              <a:gd name="connsiteY9" fmla="*/ 248979 h 646118"/>
              <a:gd name="connsiteX10" fmla="*/ 0 w 2466975"/>
              <a:gd name="connsiteY10" fmla="*/ 1328 h 646118"/>
              <a:gd name="connsiteX11" fmla="*/ 428625 w 2466975"/>
              <a:gd name="connsiteY11" fmla="*/ 377567 h 646118"/>
              <a:gd name="connsiteX0" fmla="*/ 455120 w 2493470"/>
              <a:gd name="connsiteY0" fmla="*/ 402222 h 670773"/>
              <a:gd name="connsiteX1" fmla="*/ 483695 w 2493470"/>
              <a:gd name="connsiteY1" fmla="*/ 435560 h 670773"/>
              <a:gd name="connsiteX2" fmla="*/ 812308 w 2493470"/>
              <a:gd name="connsiteY2" fmla="*/ 654634 h 670773"/>
              <a:gd name="connsiteX3" fmla="*/ 2036270 w 2493470"/>
              <a:gd name="connsiteY3" fmla="*/ 659397 h 670773"/>
              <a:gd name="connsiteX4" fmla="*/ 2431557 w 2493470"/>
              <a:gd name="connsiteY4" fmla="*/ 478422 h 670773"/>
              <a:gd name="connsiteX5" fmla="*/ 2493470 w 2493470"/>
              <a:gd name="connsiteY5" fmla="*/ 402222 h 670773"/>
              <a:gd name="connsiteX6" fmla="*/ 2093420 w 2493470"/>
              <a:gd name="connsiteY6" fmla="*/ 33127 h 670773"/>
              <a:gd name="connsiteX7" fmla="*/ 2015633 w 2493470"/>
              <a:gd name="connsiteY7" fmla="*/ 130627 h 670773"/>
              <a:gd name="connsiteX8" fmla="*/ 1674321 w 2493470"/>
              <a:gd name="connsiteY8" fmla="*/ 264109 h 670773"/>
              <a:gd name="connsiteX9" fmla="*/ 421783 w 2493470"/>
              <a:gd name="connsiteY9" fmla="*/ 273634 h 670773"/>
              <a:gd name="connsiteX10" fmla="*/ 86820 w 2493470"/>
              <a:gd name="connsiteY10" fmla="*/ 59190 h 670773"/>
              <a:gd name="connsiteX11" fmla="*/ 26495 w 2493470"/>
              <a:gd name="connsiteY11" fmla="*/ 25983 h 670773"/>
              <a:gd name="connsiteX12" fmla="*/ 455120 w 2493470"/>
              <a:gd name="connsiteY12" fmla="*/ 402222 h 670773"/>
              <a:gd name="connsiteX0" fmla="*/ 428625 w 2466975"/>
              <a:gd name="connsiteY0" fmla="*/ 376239 h 644790"/>
              <a:gd name="connsiteX1" fmla="*/ 457200 w 2466975"/>
              <a:gd name="connsiteY1" fmla="*/ 409577 h 644790"/>
              <a:gd name="connsiteX2" fmla="*/ 785813 w 2466975"/>
              <a:gd name="connsiteY2" fmla="*/ 628651 h 644790"/>
              <a:gd name="connsiteX3" fmla="*/ 2009775 w 2466975"/>
              <a:gd name="connsiteY3" fmla="*/ 633414 h 644790"/>
              <a:gd name="connsiteX4" fmla="*/ 2405062 w 2466975"/>
              <a:gd name="connsiteY4" fmla="*/ 452439 h 644790"/>
              <a:gd name="connsiteX5" fmla="*/ 2466975 w 2466975"/>
              <a:gd name="connsiteY5" fmla="*/ 376239 h 644790"/>
              <a:gd name="connsiteX6" fmla="*/ 2066925 w 2466975"/>
              <a:gd name="connsiteY6" fmla="*/ 7144 h 644790"/>
              <a:gd name="connsiteX7" fmla="*/ 1989138 w 2466975"/>
              <a:gd name="connsiteY7" fmla="*/ 104644 h 644790"/>
              <a:gd name="connsiteX8" fmla="*/ 1647826 w 2466975"/>
              <a:gd name="connsiteY8" fmla="*/ 238126 h 644790"/>
              <a:gd name="connsiteX9" fmla="*/ 395288 w 2466975"/>
              <a:gd name="connsiteY9" fmla="*/ 247651 h 644790"/>
              <a:gd name="connsiteX10" fmla="*/ 60325 w 2466975"/>
              <a:gd name="connsiteY10" fmla="*/ 33207 h 644790"/>
              <a:gd name="connsiteX11" fmla="*/ 0 w 2466975"/>
              <a:gd name="connsiteY11" fmla="*/ 0 h 644790"/>
              <a:gd name="connsiteX12" fmla="*/ 428625 w 2466975"/>
              <a:gd name="connsiteY12" fmla="*/ 376239 h 644790"/>
              <a:gd name="connsiteX0" fmla="*/ 428625 w 2466975"/>
              <a:gd name="connsiteY0" fmla="*/ 376239 h 644790"/>
              <a:gd name="connsiteX1" fmla="*/ 457200 w 2466975"/>
              <a:gd name="connsiteY1" fmla="*/ 409577 h 644790"/>
              <a:gd name="connsiteX2" fmla="*/ 785813 w 2466975"/>
              <a:gd name="connsiteY2" fmla="*/ 628651 h 644790"/>
              <a:gd name="connsiteX3" fmla="*/ 2009775 w 2466975"/>
              <a:gd name="connsiteY3" fmla="*/ 633414 h 644790"/>
              <a:gd name="connsiteX4" fmla="*/ 2405062 w 2466975"/>
              <a:gd name="connsiteY4" fmla="*/ 452439 h 644790"/>
              <a:gd name="connsiteX5" fmla="*/ 2466975 w 2466975"/>
              <a:gd name="connsiteY5" fmla="*/ 376239 h 644790"/>
              <a:gd name="connsiteX6" fmla="*/ 2066925 w 2466975"/>
              <a:gd name="connsiteY6" fmla="*/ 7144 h 644790"/>
              <a:gd name="connsiteX7" fmla="*/ 1989138 w 2466975"/>
              <a:gd name="connsiteY7" fmla="*/ 104644 h 644790"/>
              <a:gd name="connsiteX8" fmla="*/ 1647826 w 2466975"/>
              <a:gd name="connsiteY8" fmla="*/ 238126 h 644790"/>
              <a:gd name="connsiteX9" fmla="*/ 452438 w 2466975"/>
              <a:gd name="connsiteY9" fmla="*/ 257176 h 644790"/>
              <a:gd name="connsiteX10" fmla="*/ 60325 w 2466975"/>
              <a:gd name="connsiteY10" fmla="*/ 33207 h 644790"/>
              <a:gd name="connsiteX11" fmla="*/ 0 w 2466975"/>
              <a:gd name="connsiteY11" fmla="*/ 0 h 644790"/>
              <a:gd name="connsiteX12" fmla="*/ 428625 w 2466975"/>
              <a:gd name="connsiteY12" fmla="*/ 376239 h 644790"/>
              <a:gd name="connsiteX0" fmla="*/ 428625 w 2466975"/>
              <a:gd name="connsiteY0" fmla="*/ 376239 h 644790"/>
              <a:gd name="connsiteX1" fmla="*/ 457200 w 2466975"/>
              <a:gd name="connsiteY1" fmla="*/ 409577 h 644790"/>
              <a:gd name="connsiteX2" fmla="*/ 785813 w 2466975"/>
              <a:gd name="connsiteY2" fmla="*/ 628651 h 644790"/>
              <a:gd name="connsiteX3" fmla="*/ 2009775 w 2466975"/>
              <a:gd name="connsiteY3" fmla="*/ 633414 h 644790"/>
              <a:gd name="connsiteX4" fmla="*/ 2405062 w 2466975"/>
              <a:gd name="connsiteY4" fmla="*/ 452439 h 644790"/>
              <a:gd name="connsiteX5" fmla="*/ 2466975 w 2466975"/>
              <a:gd name="connsiteY5" fmla="*/ 376239 h 644790"/>
              <a:gd name="connsiteX6" fmla="*/ 2066925 w 2466975"/>
              <a:gd name="connsiteY6" fmla="*/ 7144 h 644790"/>
              <a:gd name="connsiteX7" fmla="*/ 1989138 w 2466975"/>
              <a:gd name="connsiteY7" fmla="*/ 104644 h 644790"/>
              <a:gd name="connsiteX8" fmla="*/ 1647826 w 2466975"/>
              <a:gd name="connsiteY8" fmla="*/ 238126 h 644790"/>
              <a:gd name="connsiteX9" fmla="*/ 452438 w 2466975"/>
              <a:gd name="connsiteY9" fmla="*/ 257176 h 644790"/>
              <a:gd name="connsiteX10" fmla="*/ 100806 w 2466975"/>
              <a:gd name="connsiteY10" fmla="*/ 78451 h 644790"/>
              <a:gd name="connsiteX11" fmla="*/ 60325 w 2466975"/>
              <a:gd name="connsiteY11" fmla="*/ 33207 h 644790"/>
              <a:gd name="connsiteX12" fmla="*/ 0 w 2466975"/>
              <a:gd name="connsiteY12" fmla="*/ 0 h 644790"/>
              <a:gd name="connsiteX13" fmla="*/ 428625 w 2466975"/>
              <a:gd name="connsiteY13" fmla="*/ 376239 h 644790"/>
              <a:gd name="connsiteX0" fmla="*/ 446646 w 2484996"/>
              <a:gd name="connsiteY0" fmla="*/ 391312 h 659863"/>
              <a:gd name="connsiteX1" fmla="*/ 475221 w 2484996"/>
              <a:gd name="connsiteY1" fmla="*/ 424650 h 659863"/>
              <a:gd name="connsiteX2" fmla="*/ 803834 w 2484996"/>
              <a:gd name="connsiteY2" fmla="*/ 643724 h 659863"/>
              <a:gd name="connsiteX3" fmla="*/ 2027796 w 2484996"/>
              <a:gd name="connsiteY3" fmla="*/ 648487 h 659863"/>
              <a:gd name="connsiteX4" fmla="*/ 2423083 w 2484996"/>
              <a:gd name="connsiteY4" fmla="*/ 467512 h 659863"/>
              <a:gd name="connsiteX5" fmla="*/ 2484996 w 2484996"/>
              <a:gd name="connsiteY5" fmla="*/ 391312 h 659863"/>
              <a:gd name="connsiteX6" fmla="*/ 2084946 w 2484996"/>
              <a:gd name="connsiteY6" fmla="*/ 22217 h 659863"/>
              <a:gd name="connsiteX7" fmla="*/ 2007159 w 2484996"/>
              <a:gd name="connsiteY7" fmla="*/ 119717 h 659863"/>
              <a:gd name="connsiteX8" fmla="*/ 1665847 w 2484996"/>
              <a:gd name="connsiteY8" fmla="*/ 253199 h 659863"/>
              <a:gd name="connsiteX9" fmla="*/ 470459 w 2484996"/>
              <a:gd name="connsiteY9" fmla="*/ 272249 h 659863"/>
              <a:gd name="connsiteX10" fmla="*/ 118827 w 2484996"/>
              <a:gd name="connsiteY10" fmla="*/ 93524 h 659863"/>
              <a:gd name="connsiteX11" fmla="*/ 18021 w 2484996"/>
              <a:gd name="connsiteY11" fmla="*/ 15073 h 659863"/>
              <a:gd name="connsiteX12" fmla="*/ 446646 w 2484996"/>
              <a:gd name="connsiteY12" fmla="*/ 391312 h 659863"/>
              <a:gd name="connsiteX0" fmla="*/ 442796 w 2481146"/>
              <a:gd name="connsiteY0" fmla="*/ 398623 h 667174"/>
              <a:gd name="connsiteX1" fmla="*/ 471371 w 2481146"/>
              <a:gd name="connsiteY1" fmla="*/ 431961 h 667174"/>
              <a:gd name="connsiteX2" fmla="*/ 799984 w 2481146"/>
              <a:gd name="connsiteY2" fmla="*/ 651035 h 667174"/>
              <a:gd name="connsiteX3" fmla="*/ 2023946 w 2481146"/>
              <a:gd name="connsiteY3" fmla="*/ 655798 h 667174"/>
              <a:gd name="connsiteX4" fmla="*/ 2419233 w 2481146"/>
              <a:gd name="connsiteY4" fmla="*/ 474823 h 667174"/>
              <a:gd name="connsiteX5" fmla="*/ 2481146 w 2481146"/>
              <a:gd name="connsiteY5" fmla="*/ 398623 h 667174"/>
              <a:gd name="connsiteX6" fmla="*/ 2081096 w 2481146"/>
              <a:gd name="connsiteY6" fmla="*/ 29528 h 667174"/>
              <a:gd name="connsiteX7" fmla="*/ 2003309 w 2481146"/>
              <a:gd name="connsiteY7" fmla="*/ 127028 h 667174"/>
              <a:gd name="connsiteX8" fmla="*/ 1661997 w 2481146"/>
              <a:gd name="connsiteY8" fmla="*/ 260510 h 667174"/>
              <a:gd name="connsiteX9" fmla="*/ 466609 w 2481146"/>
              <a:gd name="connsiteY9" fmla="*/ 279560 h 667174"/>
              <a:gd name="connsiteX10" fmla="*/ 150696 w 2481146"/>
              <a:gd name="connsiteY10" fmla="*/ 57973 h 667174"/>
              <a:gd name="connsiteX11" fmla="*/ 14171 w 2481146"/>
              <a:gd name="connsiteY11" fmla="*/ 22384 h 667174"/>
              <a:gd name="connsiteX12" fmla="*/ 442796 w 2481146"/>
              <a:gd name="connsiteY12" fmla="*/ 398623 h 667174"/>
              <a:gd name="connsiteX0" fmla="*/ 428625 w 2466975"/>
              <a:gd name="connsiteY0" fmla="*/ 376239 h 644790"/>
              <a:gd name="connsiteX1" fmla="*/ 457200 w 2466975"/>
              <a:gd name="connsiteY1" fmla="*/ 409577 h 644790"/>
              <a:gd name="connsiteX2" fmla="*/ 785813 w 2466975"/>
              <a:gd name="connsiteY2" fmla="*/ 628651 h 644790"/>
              <a:gd name="connsiteX3" fmla="*/ 2009775 w 2466975"/>
              <a:gd name="connsiteY3" fmla="*/ 633414 h 644790"/>
              <a:gd name="connsiteX4" fmla="*/ 2405062 w 2466975"/>
              <a:gd name="connsiteY4" fmla="*/ 452439 h 644790"/>
              <a:gd name="connsiteX5" fmla="*/ 2466975 w 2466975"/>
              <a:gd name="connsiteY5" fmla="*/ 376239 h 644790"/>
              <a:gd name="connsiteX6" fmla="*/ 2066925 w 2466975"/>
              <a:gd name="connsiteY6" fmla="*/ 7144 h 644790"/>
              <a:gd name="connsiteX7" fmla="*/ 1989138 w 2466975"/>
              <a:gd name="connsiteY7" fmla="*/ 104644 h 644790"/>
              <a:gd name="connsiteX8" fmla="*/ 1647826 w 2466975"/>
              <a:gd name="connsiteY8" fmla="*/ 238126 h 644790"/>
              <a:gd name="connsiteX9" fmla="*/ 452438 w 2466975"/>
              <a:gd name="connsiteY9" fmla="*/ 257176 h 644790"/>
              <a:gd name="connsiteX10" fmla="*/ 136525 w 2466975"/>
              <a:gd name="connsiteY10" fmla="*/ 35589 h 644790"/>
              <a:gd name="connsiteX11" fmla="*/ 0 w 2466975"/>
              <a:gd name="connsiteY11" fmla="*/ 0 h 644790"/>
              <a:gd name="connsiteX12" fmla="*/ 428625 w 2466975"/>
              <a:gd name="connsiteY12" fmla="*/ 376239 h 644790"/>
              <a:gd name="connsiteX0" fmla="*/ 428625 w 2466975"/>
              <a:gd name="connsiteY0" fmla="*/ 376239 h 644790"/>
              <a:gd name="connsiteX1" fmla="*/ 457200 w 2466975"/>
              <a:gd name="connsiteY1" fmla="*/ 409577 h 644790"/>
              <a:gd name="connsiteX2" fmla="*/ 785813 w 2466975"/>
              <a:gd name="connsiteY2" fmla="*/ 628651 h 644790"/>
              <a:gd name="connsiteX3" fmla="*/ 2009775 w 2466975"/>
              <a:gd name="connsiteY3" fmla="*/ 633414 h 644790"/>
              <a:gd name="connsiteX4" fmla="*/ 2405062 w 2466975"/>
              <a:gd name="connsiteY4" fmla="*/ 452439 h 644790"/>
              <a:gd name="connsiteX5" fmla="*/ 2466975 w 2466975"/>
              <a:gd name="connsiteY5" fmla="*/ 376239 h 644790"/>
              <a:gd name="connsiteX6" fmla="*/ 2066925 w 2466975"/>
              <a:gd name="connsiteY6" fmla="*/ 7144 h 644790"/>
              <a:gd name="connsiteX7" fmla="*/ 1989138 w 2466975"/>
              <a:gd name="connsiteY7" fmla="*/ 104644 h 644790"/>
              <a:gd name="connsiteX8" fmla="*/ 1647826 w 2466975"/>
              <a:gd name="connsiteY8" fmla="*/ 238126 h 644790"/>
              <a:gd name="connsiteX9" fmla="*/ 452438 w 2466975"/>
              <a:gd name="connsiteY9" fmla="*/ 257176 h 644790"/>
              <a:gd name="connsiteX10" fmla="*/ 100806 w 2466975"/>
              <a:gd name="connsiteY10" fmla="*/ 68927 h 644790"/>
              <a:gd name="connsiteX11" fmla="*/ 0 w 2466975"/>
              <a:gd name="connsiteY11" fmla="*/ 0 h 644790"/>
              <a:gd name="connsiteX12" fmla="*/ 428625 w 2466975"/>
              <a:gd name="connsiteY12" fmla="*/ 376239 h 644790"/>
              <a:gd name="connsiteX0" fmla="*/ 428625 w 2466975"/>
              <a:gd name="connsiteY0" fmla="*/ 376239 h 644790"/>
              <a:gd name="connsiteX1" fmla="*/ 457200 w 2466975"/>
              <a:gd name="connsiteY1" fmla="*/ 409577 h 644790"/>
              <a:gd name="connsiteX2" fmla="*/ 785813 w 2466975"/>
              <a:gd name="connsiteY2" fmla="*/ 628651 h 644790"/>
              <a:gd name="connsiteX3" fmla="*/ 2009775 w 2466975"/>
              <a:gd name="connsiteY3" fmla="*/ 633414 h 644790"/>
              <a:gd name="connsiteX4" fmla="*/ 2405062 w 2466975"/>
              <a:gd name="connsiteY4" fmla="*/ 452439 h 644790"/>
              <a:gd name="connsiteX5" fmla="*/ 2466975 w 2466975"/>
              <a:gd name="connsiteY5" fmla="*/ 376239 h 644790"/>
              <a:gd name="connsiteX6" fmla="*/ 2066925 w 2466975"/>
              <a:gd name="connsiteY6" fmla="*/ 7144 h 644790"/>
              <a:gd name="connsiteX7" fmla="*/ 1989138 w 2466975"/>
              <a:gd name="connsiteY7" fmla="*/ 104644 h 644790"/>
              <a:gd name="connsiteX8" fmla="*/ 1647826 w 2466975"/>
              <a:gd name="connsiteY8" fmla="*/ 238126 h 644790"/>
              <a:gd name="connsiteX9" fmla="*/ 452438 w 2466975"/>
              <a:gd name="connsiteY9" fmla="*/ 257176 h 644790"/>
              <a:gd name="connsiteX10" fmla="*/ 100806 w 2466975"/>
              <a:gd name="connsiteY10" fmla="*/ 87977 h 644790"/>
              <a:gd name="connsiteX11" fmla="*/ 0 w 2466975"/>
              <a:gd name="connsiteY11" fmla="*/ 0 h 644790"/>
              <a:gd name="connsiteX12" fmla="*/ 428625 w 2466975"/>
              <a:gd name="connsiteY12" fmla="*/ 376239 h 64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66975" h="644790">
                <a:moveTo>
                  <a:pt x="428625" y="376239"/>
                </a:moveTo>
                <a:lnTo>
                  <a:pt x="457200" y="409577"/>
                </a:lnTo>
                <a:cubicBezTo>
                  <a:pt x="516731" y="451646"/>
                  <a:pt x="534988" y="611982"/>
                  <a:pt x="785813" y="628651"/>
                </a:cubicBezTo>
                <a:cubicBezTo>
                  <a:pt x="1036638" y="645320"/>
                  <a:pt x="1750219" y="652464"/>
                  <a:pt x="2009775" y="633414"/>
                </a:cubicBezTo>
                <a:cubicBezTo>
                  <a:pt x="2269331" y="614364"/>
                  <a:pt x="2339975" y="494508"/>
                  <a:pt x="2405062" y="452439"/>
                </a:cubicBezTo>
                <a:lnTo>
                  <a:pt x="2466975" y="376239"/>
                </a:lnTo>
                <a:lnTo>
                  <a:pt x="2066925" y="7144"/>
                </a:lnTo>
                <a:lnTo>
                  <a:pt x="1989138" y="104644"/>
                </a:lnTo>
                <a:cubicBezTo>
                  <a:pt x="1921669" y="144331"/>
                  <a:pt x="1916643" y="210323"/>
                  <a:pt x="1647826" y="238126"/>
                </a:cubicBezTo>
                <a:cubicBezTo>
                  <a:pt x="1379803" y="270692"/>
                  <a:pt x="751682" y="293689"/>
                  <a:pt x="452438" y="257176"/>
                </a:cubicBezTo>
                <a:cubicBezTo>
                  <a:pt x="189045" y="223023"/>
                  <a:pt x="176212" y="130840"/>
                  <a:pt x="100806" y="87977"/>
                </a:cubicBezTo>
                <a:lnTo>
                  <a:pt x="0" y="0"/>
                </a:lnTo>
                <a:lnTo>
                  <a:pt x="428625" y="376239"/>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0800000" scaled="1"/>
            <a:tileRect/>
          </a:gradFill>
          <a:ln w="12700" cap="flat" cmpd="sng" algn="ctr">
            <a:solidFill>
              <a:schemeClr val="tx1"/>
            </a:solidFill>
            <a:prstDash val="solid"/>
            <a:round/>
            <a:headEnd type="none" w="sm" len="sm"/>
            <a:tailEnd type="none" w="sm" len="sm"/>
          </a:ln>
          <a:effectLst/>
          <a:extLst/>
        </p:spPr>
        <p:txBody>
          <a:bodyPr/>
          <a:lstStyle/>
          <a:p>
            <a:pPr>
              <a:defRPr/>
            </a:pPr>
            <a:endParaRPr lang="en-US" dirty="0"/>
          </a:p>
        </p:txBody>
      </p:sp>
      <p:grpSp>
        <p:nvGrpSpPr>
          <p:cNvPr id="19" name="Group 18"/>
          <p:cNvGrpSpPr>
            <a:grpSpLocks/>
          </p:cNvGrpSpPr>
          <p:nvPr>
            <p:custDataLst>
              <p:tags r:id="rId38"/>
            </p:custDataLst>
          </p:nvPr>
        </p:nvGrpSpPr>
        <p:grpSpPr bwMode="auto">
          <a:xfrm>
            <a:off x="1344800" y="5480050"/>
            <a:ext cx="2466975" cy="1176338"/>
            <a:chOff x="351648" y="5717552"/>
            <a:chExt cx="2466975" cy="1176192"/>
          </a:xfrm>
        </p:grpSpPr>
        <p:sp>
          <p:nvSpPr>
            <p:cNvPr id="10281" name="Freeform 55"/>
            <p:cNvSpPr>
              <a:spLocks/>
            </p:cNvSpPr>
            <p:nvPr/>
          </p:nvSpPr>
          <p:spPr bwMode="auto">
            <a:xfrm>
              <a:off x="351648" y="5717552"/>
              <a:ext cx="2466975" cy="644790"/>
            </a:xfrm>
            <a:custGeom>
              <a:avLst/>
              <a:gdLst>
                <a:gd name="T0" fmla="*/ 428625 w 2466975"/>
                <a:gd name="T1" fmla="*/ 376239 h 644790"/>
                <a:gd name="T2" fmla="*/ 457200 w 2466975"/>
                <a:gd name="T3" fmla="*/ 409577 h 644790"/>
                <a:gd name="T4" fmla="*/ 785813 w 2466975"/>
                <a:gd name="T5" fmla="*/ 628651 h 644790"/>
                <a:gd name="T6" fmla="*/ 2009775 w 2466975"/>
                <a:gd name="T7" fmla="*/ 633414 h 644790"/>
                <a:gd name="T8" fmla="*/ 2405062 w 2466975"/>
                <a:gd name="T9" fmla="*/ 452439 h 644790"/>
                <a:gd name="T10" fmla="*/ 2466975 w 2466975"/>
                <a:gd name="T11" fmla="*/ 376239 h 644790"/>
                <a:gd name="T12" fmla="*/ 2062163 w 2466975"/>
                <a:gd name="T13" fmla="*/ 11906 h 644790"/>
                <a:gd name="T14" fmla="*/ 1984376 w 2466975"/>
                <a:gd name="T15" fmla="*/ 104644 h 644790"/>
                <a:gd name="T16" fmla="*/ 1647826 w 2466975"/>
                <a:gd name="T17" fmla="*/ 238126 h 644790"/>
                <a:gd name="T18" fmla="*/ 452438 w 2466975"/>
                <a:gd name="T19" fmla="*/ 257176 h 644790"/>
                <a:gd name="T20" fmla="*/ 100806 w 2466975"/>
                <a:gd name="T21" fmla="*/ 87977 h 644790"/>
                <a:gd name="T22" fmla="*/ 0 w 2466975"/>
                <a:gd name="T23" fmla="*/ 0 h 644790"/>
                <a:gd name="T24" fmla="*/ 428625 w 2466975"/>
                <a:gd name="T25" fmla="*/ 376239 h 64479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466975" h="644790">
                  <a:moveTo>
                    <a:pt x="428625" y="376239"/>
                  </a:moveTo>
                  <a:lnTo>
                    <a:pt x="457200" y="409577"/>
                  </a:lnTo>
                  <a:cubicBezTo>
                    <a:pt x="516731" y="451646"/>
                    <a:pt x="534988" y="611982"/>
                    <a:pt x="785813" y="628651"/>
                  </a:cubicBezTo>
                  <a:cubicBezTo>
                    <a:pt x="1036638" y="645320"/>
                    <a:pt x="1750219" y="652464"/>
                    <a:pt x="2009775" y="633414"/>
                  </a:cubicBezTo>
                  <a:cubicBezTo>
                    <a:pt x="2269331" y="614364"/>
                    <a:pt x="2339975" y="494508"/>
                    <a:pt x="2405062" y="452439"/>
                  </a:cubicBezTo>
                  <a:lnTo>
                    <a:pt x="2466975" y="376239"/>
                  </a:lnTo>
                  <a:lnTo>
                    <a:pt x="2062163" y="11906"/>
                  </a:lnTo>
                  <a:lnTo>
                    <a:pt x="1984376" y="104644"/>
                  </a:lnTo>
                  <a:cubicBezTo>
                    <a:pt x="1916907" y="144331"/>
                    <a:pt x="1916643" y="210323"/>
                    <a:pt x="1647826" y="238126"/>
                  </a:cubicBezTo>
                  <a:cubicBezTo>
                    <a:pt x="1379803" y="270692"/>
                    <a:pt x="751682" y="293689"/>
                    <a:pt x="452438" y="257176"/>
                  </a:cubicBezTo>
                  <a:cubicBezTo>
                    <a:pt x="189045" y="223023"/>
                    <a:pt x="176212" y="130840"/>
                    <a:pt x="100806" y="87977"/>
                  </a:cubicBezTo>
                  <a:lnTo>
                    <a:pt x="0" y="0"/>
                  </a:lnTo>
                  <a:lnTo>
                    <a:pt x="428625" y="376239"/>
                  </a:lnTo>
                  <a:close/>
                </a:path>
              </a:pathLst>
            </a:custGeom>
            <a:noFill/>
            <a:ln w="41275" cap="flat" cmpd="sng" algn="ctr">
              <a:solidFill>
                <a:srgbClr val="FFC000"/>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0282" name="Freeform 16"/>
            <p:cNvSpPr>
              <a:spLocks/>
            </p:cNvSpPr>
            <p:nvPr/>
          </p:nvSpPr>
          <p:spPr bwMode="auto">
            <a:xfrm>
              <a:off x="1800225" y="6362724"/>
              <a:ext cx="414338" cy="290513"/>
            </a:xfrm>
            <a:custGeom>
              <a:avLst/>
              <a:gdLst>
                <a:gd name="T0" fmla="*/ 0 w 414338"/>
                <a:gd name="T1" fmla="*/ 0 h 290513"/>
                <a:gd name="T2" fmla="*/ 276225 w 414338"/>
                <a:gd name="T3" fmla="*/ 119063 h 290513"/>
                <a:gd name="T4" fmla="*/ 414338 w 414338"/>
                <a:gd name="T5" fmla="*/ 290513 h 290513"/>
                <a:gd name="T6" fmla="*/ 414338 w 414338"/>
                <a:gd name="T7" fmla="*/ 290513 h 29051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14338" h="290513">
                  <a:moveTo>
                    <a:pt x="0" y="0"/>
                  </a:moveTo>
                  <a:cubicBezTo>
                    <a:pt x="103584" y="35322"/>
                    <a:pt x="207169" y="70644"/>
                    <a:pt x="276225" y="119063"/>
                  </a:cubicBezTo>
                  <a:cubicBezTo>
                    <a:pt x="345281" y="167482"/>
                    <a:pt x="414338" y="290513"/>
                    <a:pt x="414338" y="290513"/>
                  </a:cubicBezTo>
                </a:path>
              </a:pathLst>
            </a:custGeom>
            <a:noFill/>
            <a:ln w="22225" cap="flat" cmpd="sng" algn="ctr">
              <a:solidFill>
                <a:srgbClr val="FFC000"/>
              </a:solidFill>
              <a:prstDash val="solid"/>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283" name="Rounded Rectangle 17"/>
            <p:cNvSpPr>
              <a:spLocks noChangeArrowheads="1"/>
            </p:cNvSpPr>
            <p:nvPr/>
          </p:nvSpPr>
          <p:spPr bwMode="auto">
            <a:xfrm>
              <a:off x="2057400" y="6653237"/>
              <a:ext cx="745348" cy="240507"/>
            </a:xfrm>
            <a:prstGeom prst="roundRect">
              <a:avLst>
                <a:gd name="adj" fmla="val 16667"/>
              </a:avLst>
            </a:prstGeom>
            <a:solidFill>
              <a:schemeClr val="bg1"/>
            </a:solidFill>
            <a:ln w="22225" algn="ctr">
              <a:solidFill>
                <a:srgbClr val="FFC000"/>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eaLnBrk="1" hangingPunct="1"/>
              <a:r>
                <a:rPr lang="en-US" altLang="en-US" sz="1000"/>
                <a:t>Vacuum</a:t>
              </a:r>
            </a:p>
          </p:txBody>
        </p:sp>
      </p:grpSp>
      <p:sp>
        <p:nvSpPr>
          <p:cNvPr id="58" name="AutoShape 3"/>
          <p:cNvSpPr>
            <a:spLocks noChangeArrowheads="1"/>
          </p:cNvSpPr>
          <p:nvPr>
            <p:custDataLst>
              <p:tags r:id="rId39"/>
            </p:custDataLst>
          </p:nvPr>
        </p:nvSpPr>
        <p:spPr bwMode="auto">
          <a:xfrm>
            <a:off x="4856635" y="1160749"/>
            <a:ext cx="2767013" cy="301625"/>
          </a:xfrm>
          <a:prstGeom prst="chevron">
            <a:avLst>
              <a:gd name="adj" fmla="val 24855"/>
            </a:avLst>
          </a:prstGeom>
          <a:solidFill>
            <a:srgbClr val="002060"/>
          </a:solidFill>
          <a:ln>
            <a:noFill/>
          </a:ln>
          <a:effectLst>
            <a:softEdge rad="12700"/>
          </a:effectLst>
          <a:scene3d>
            <a:camera prst="orthographicFront">
              <a:rot lat="0" lon="0" rev="0"/>
            </a:camera>
            <a:lightRig rig="contrasting" dir="t">
              <a:rot lat="0" lon="0" rev="7800000"/>
            </a:lightRig>
          </a:scene3d>
          <a:sp3d>
            <a:bevelT w="139700" h="139700"/>
          </a:sp3d>
        </p:spPr>
        <p:txBody>
          <a:bodyPr anchor="ctr"/>
          <a:lstStyle/>
          <a:p>
            <a:pPr algn="ctr" eaLnBrk="0" hangingPunct="0">
              <a:buFont typeface="Webdings" pitchFamily="18" charset="2"/>
              <a:buNone/>
            </a:pPr>
            <a:r>
              <a:rPr lang="de-DE" altLang="en-US" sz="1400" dirty="0">
                <a:solidFill>
                  <a:schemeClr val="bg1"/>
                </a:solidFill>
              </a:rPr>
              <a:t>Edge </a:t>
            </a:r>
            <a:r>
              <a:rPr lang="de-DE" altLang="en-US" sz="1400" dirty="0" err="1">
                <a:solidFill>
                  <a:schemeClr val="bg1"/>
                </a:solidFill>
              </a:rPr>
              <a:t>grinding</a:t>
            </a:r>
            <a:endParaRPr lang="de-DE" altLang="en-US" sz="1400" dirty="0">
              <a:solidFill>
                <a:schemeClr val="bg1"/>
              </a:solidFill>
            </a:endParaRPr>
          </a:p>
        </p:txBody>
      </p:sp>
      <p:sp>
        <p:nvSpPr>
          <p:cNvPr id="59" name="AutoShape 4"/>
          <p:cNvSpPr>
            <a:spLocks noChangeArrowheads="1"/>
          </p:cNvSpPr>
          <p:nvPr>
            <p:custDataLst>
              <p:tags r:id="rId40"/>
            </p:custDataLst>
          </p:nvPr>
        </p:nvSpPr>
        <p:spPr bwMode="auto">
          <a:xfrm>
            <a:off x="1430079" y="1160749"/>
            <a:ext cx="2930142" cy="301625"/>
          </a:xfrm>
          <a:prstGeom prst="homePlate">
            <a:avLst>
              <a:gd name="adj" fmla="val 26032"/>
            </a:avLst>
          </a:prstGeom>
          <a:solidFill>
            <a:srgbClr val="002060"/>
          </a:solidFill>
          <a:ln>
            <a:noFill/>
          </a:ln>
          <a:effectLst>
            <a:softEdge rad="12700"/>
          </a:effectLst>
          <a:scene3d>
            <a:camera prst="orthographicFront">
              <a:rot lat="0" lon="0" rev="0"/>
            </a:camera>
            <a:lightRig rig="contrasting" dir="t">
              <a:rot lat="0" lon="0" rev="7800000"/>
            </a:lightRig>
          </a:scene3d>
          <a:sp3d>
            <a:bevelT w="139700" h="139700"/>
          </a:sp3d>
        </p:spPr>
        <p:txBody>
          <a:bodyPr anchor="ctr"/>
          <a:lstStyle/>
          <a:p>
            <a:pPr algn="ctr" eaLnBrk="0" hangingPunct="0">
              <a:buFont typeface="Webdings" pitchFamily="18" charset="2"/>
              <a:buNone/>
            </a:pPr>
            <a:r>
              <a:rPr lang="de-DE" altLang="en-US" sz="1400" b="1" dirty="0">
                <a:solidFill>
                  <a:schemeClr val="bg1"/>
                </a:solidFill>
              </a:rPr>
              <a:t> Blank </a:t>
            </a:r>
            <a:r>
              <a:rPr lang="de-DE" altLang="en-US" sz="1400" b="1" dirty="0" smtClean="0">
                <a:solidFill>
                  <a:schemeClr val="bg1"/>
                </a:solidFill>
              </a:rPr>
              <a:t>Preparation</a:t>
            </a:r>
            <a:endParaRPr lang="de-DE" altLang="en-US" sz="1400" b="1" dirty="0">
              <a:solidFill>
                <a:schemeClr val="bg1"/>
              </a:solidFill>
            </a:endParaRPr>
          </a:p>
        </p:txBody>
      </p:sp>
      <p:sp>
        <p:nvSpPr>
          <p:cNvPr id="60" name="AutoShape 5"/>
          <p:cNvSpPr>
            <a:spLocks noChangeArrowheads="1"/>
          </p:cNvSpPr>
          <p:nvPr>
            <p:custDataLst>
              <p:tags r:id="rId41"/>
            </p:custDataLst>
          </p:nvPr>
        </p:nvSpPr>
        <p:spPr bwMode="auto">
          <a:xfrm>
            <a:off x="8504359" y="1160749"/>
            <a:ext cx="3082590" cy="301625"/>
          </a:xfrm>
          <a:prstGeom prst="chevron">
            <a:avLst>
              <a:gd name="adj" fmla="val 24855"/>
            </a:avLst>
          </a:prstGeom>
          <a:solidFill>
            <a:srgbClr val="002060"/>
          </a:solidFill>
          <a:ln>
            <a:noFill/>
          </a:ln>
          <a:effectLst>
            <a:softEdge rad="12700"/>
          </a:effectLst>
          <a:scene3d>
            <a:camera prst="orthographicFront">
              <a:rot lat="0" lon="0" rev="0"/>
            </a:camera>
            <a:lightRig rig="contrasting" dir="t">
              <a:rot lat="0" lon="0" rev="7800000"/>
            </a:lightRig>
          </a:scene3d>
          <a:sp3d>
            <a:bevelT w="139700" h="139700"/>
          </a:sp3d>
        </p:spPr>
        <p:txBody>
          <a:bodyPr anchor="ctr"/>
          <a:lstStyle/>
          <a:p>
            <a:pPr algn="ctr" eaLnBrk="0" hangingPunct="0">
              <a:buFont typeface="Webdings" pitchFamily="18" charset="2"/>
              <a:buNone/>
            </a:pPr>
            <a:r>
              <a:rPr lang="de-DE" altLang="en-US" sz="1400" dirty="0" err="1">
                <a:solidFill>
                  <a:schemeClr val="bg1"/>
                </a:solidFill>
              </a:rPr>
              <a:t>Washing</a:t>
            </a:r>
            <a:r>
              <a:rPr lang="de-DE" altLang="en-US" sz="1400" dirty="0">
                <a:solidFill>
                  <a:schemeClr val="bg1"/>
                </a:solidFill>
              </a:rPr>
              <a:t> &amp; </a:t>
            </a:r>
            <a:r>
              <a:rPr lang="de-DE" altLang="en-US" sz="1400" dirty="0" err="1">
                <a:solidFill>
                  <a:schemeClr val="bg1"/>
                </a:solidFill>
              </a:rPr>
              <a:t>Drying</a:t>
            </a:r>
            <a:endParaRPr lang="de-DE" altLang="en-US" sz="1400" dirty="0">
              <a:solidFill>
                <a:schemeClr val="bg1"/>
              </a:solidFill>
            </a:endParaRPr>
          </a:p>
        </p:txBody>
      </p:sp>
      <p:sp>
        <p:nvSpPr>
          <p:cNvPr id="62" name="AutoShape 3"/>
          <p:cNvSpPr>
            <a:spLocks noChangeArrowheads="1"/>
          </p:cNvSpPr>
          <p:nvPr>
            <p:custDataLst>
              <p:tags r:id="rId42"/>
            </p:custDataLst>
          </p:nvPr>
        </p:nvSpPr>
        <p:spPr bwMode="auto">
          <a:xfrm>
            <a:off x="4856635" y="4639544"/>
            <a:ext cx="2767013" cy="301625"/>
          </a:xfrm>
          <a:prstGeom prst="chevron">
            <a:avLst>
              <a:gd name="adj" fmla="val 24855"/>
            </a:avLst>
          </a:prstGeom>
          <a:solidFill>
            <a:srgbClr val="002060"/>
          </a:solidFill>
          <a:ln>
            <a:noFill/>
          </a:ln>
          <a:effectLst>
            <a:softEdge rad="12700"/>
          </a:effectLst>
          <a:scene3d>
            <a:camera prst="orthographicFront">
              <a:rot lat="0" lon="0" rev="0"/>
            </a:camera>
            <a:lightRig rig="contrasting" dir="t">
              <a:rot lat="0" lon="0" rev="7800000"/>
            </a:lightRig>
          </a:scene3d>
          <a:sp3d>
            <a:bevelT w="139700" h="139700"/>
          </a:sp3d>
        </p:spPr>
        <p:txBody>
          <a:bodyPr anchor="ctr"/>
          <a:lstStyle/>
          <a:p>
            <a:pPr algn="ctr" eaLnBrk="0" hangingPunct="0">
              <a:buFont typeface="Webdings" pitchFamily="18" charset="2"/>
              <a:buNone/>
            </a:pPr>
            <a:r>
              <a:rPr lang="en-GB" altLang="en-US" sz="1400" b="1" dirty="0">
                <a:solidFill>
                  <a:schemeClr val="bg1"/>
                </a:solidFill>
              </a:rPr>
              <a:t>Final baking in Autoclave</a:t>
            </a:r>
          </a:p>
        </p:txBody>
      </p:sp>
      <p:sp>
        <p:nvSpPr>
          <p:cNvPr id="68" name="AutoShape 4"/>
          <p:cNvSpPr>
            <a:spLocks noChangeArrowheads="1"/>
          </p:cNvSpPr>
          <p:nvPr>
            <p:custDataLst>
              <p:tags r:id="rId43"/>
            </p:custDataLst>
          </p:nvPr>
        </p:nvSpPr>
        <p:spPr bwMode="auto">
          <a:xfrm>
            <a:off x="1356015" y="4639544"/>
            <a:ext cx="3004206" cy="301625"/>
          </a:xfrm>
          <a:prstGeom prst="homePlate">
            <a:avLst>
              <a:gd name="adj" fmla="val 26032"/>
            </a:avLst>
          </a:prstGeom>
          <a:solidFill>
            <a:srgbClr val="002060"/>
          </a:solidFill>
          <a:ln>
            <a:noFill/>
          </a:ln>
          <a:effectLst>
            <a:softEdge rad="12700"/>
          </a:effectLst>
          <a:scene3d>
            <a:camera prst="orthographicFront">
              <a:rot lat="0" lon="0" rev="0"/>
            </a:camera>
            <a:lightRig rig="contrasting" dir="t">
              <a:rot lat="0" lon="0" rev="7800000"/>
            </a:lightRig>
          </a:scene3d>
          <a:sp3d>
            <a:bevelT w="139700" h="139700"/>
          </a:sp3d>
        </p:spPr>
        <p:txBody>
          <a:bodyPr anchor="ctr"/>
          <a:lstStyle/>
          <a:p>
            <a:pPr algn="ctr" eaLnBrk="0" hangingPunct="0">
              <a:buFont typeface="Webdings" pitchFamily="18" charset="2"/>
              <a:buNone/>
            </a:pPr>
            <a:r>
              <a:rPr lang="de-DE" altLang="en-US" sz="1400" dirty="0">
                <a:solidFill>
                  <a:schemeClr val="bg1"/>
                </a:solidFill>
              </a:rPr>
              <a:t>Air </a:t>
            </a:r>
            <a:r>
              <a:rPr lang="de-DE" altLang="en-US" sz="1400" dirty="0" err="1">
                <a:solidFill>
                  <a:schemeClr val="bg1"/>
                </a:solidFill>
              </a:rPr>
              <a:t>removal</a:t>
            </a:r>
            <a:endParaRPr lang="de-DE" altLang="en-US" sz="1400" dirty="0">
              <a:solidFill>
                <a:schemeClr val="bg1"/>
              </a:solidFill>
            </a:endParaRPr>
          </a:p>
        </p:txBody>
      </p:sp>
      <p:sp>
        <p:nvSpPr>
          <p:cNvPr id="69" name="AutoShape 5"/>
          <p:cNvSpPr>
            <a:spLocks noChangeArrowheads="1"/>
          </p:cNvSpPr>
          <p:nvPr>
            <p:custDataLst>
              <p:tags r:id="rId44"/>
            </p:custDataLst>
          </p:nvPr>
        </p:nvSpPr>
        <p:spPr bwMode="auto">
          <a:xfrm>
            <a:off x="8504607" y="4639544"/>
            <a:ext cx="3082341" cy="301625"/>
          </a:xfrm>
          <a:prstGeom prst="chevron">
            <a:avLst>
              <a:gd name="adj" fmla="val 24855"/>
            </a:avLst>
          </a:prstGeom>
          <a:solidFill>
            <a:srgbClr val="002060"/>
          </a:solidFill>
          <a:ln>
            <a:noFill/>
          </a:ln>
          <a:effectLst>
            <a:softEdge rad="12700"/>
          </a:effectLst>
          <a:scene3d>
            <a:camera prst="orthographicFront">
              <a:rot lat="0" lon="0" rev="0"/>
            </a:camera>
            <a:lightRig rig="contrasting" dir="t">
              <a:rot lat="0" lon="0" rev="7800000"/>
            </a:lightRig>
          </a:scene3d>
          <a:sp3d>
            <a:bevelT w="139700" h="139700"/>
          </a:sp3d>
        </p:spPr>
        <p:txBody>
          <a:bodyPr anchor="ctr"/>
          <a:lstStyle/>
          <a:p>
            <a:pPr algn="ctr" eaLnBrk="0" hangingPunct="0">
              <a:buFont typeface="Webdings" pitchFamily="18" charset="2"/>
              <a:buNone/>
            </a:pPr>
            <a:r>
              <a:rPr lang="en-GB" altLang="en-US" sz="1400" dirty="0">
                <a:solidFill>
                  <a:schemeClr val="bg1"/>
                </a:solidFill>
              </a:rPr>
              <a:t>Inspection &amp; packing</a:t>
            </a:r>
            <a:endParaRPr lang="en-GB" altLang="en-US" sz="1400" b="1" dirty="0">
              <a:solidFill>
                <a:schemeClr val="bg1"/>
              </a:solidFill>
            </a:endParaRPr>
          </a:p>
        </p:txBody>
      </p:sp>
      <p:sp>
        <p:nvSpPr>
          <p:cNvPr id="70" name="AutoShape 3"/>
          <p:cNvSpPr>
            <a:spLocks noChangeArrowheads="1"/>
          </p:cNvSpPr>
          <p:nvPr>
            <p:custDataLst>
              <p:tags r:id="rId45"/>
            </p:custDataLst>
          </p:nvPr>
        </p:nvSpPr>
        <p:spPr bwMode="auto">
          <a:xfrm rot="10800000" flipV="1">
            <a:off x="4856635" y="2960947"/>
            <a:ext cx="2767013" cy="324036"/>
          </a:xfrm>
          <a:prstGeom prst="chevron">
            <a:avLst>
              <a:gd name="adj" fmla="val 24855"/>
            </a:avLst>
          </a:prstGeom>
          <a:solidFill>
            <a:srgbClr val="002060"/>
          </a:solidFill>
          <a:ln>
            <a:noFill/>
          </a:ln>
          <a:effectLst>
            <a:softEdge rad="12700"/>
          </a:effectLst>
          <a:scene3d>
            <a:camera prst="orthographicFront">
              <a:rot lat="0" lon="0" rev="0"/>
            </a:camera>
            <a:lightRig rig="contrasting" dir="t">
              <a:rot lat="0" lon="0" rev="7800000"/>
            </a:lightRig>
          </a:scene3d>
          <a:sp3d>
            <a:bevelT w="139700" h="139700"/>
          </a:sp3d>
        </p:spPr>
        <p:txBody>
          <a:bodyPr anchor="ctr">
            <a:noAutofit/>
          </a:bodyPr>
          <a:lstStyle/>
          <a:p>
            <a:pPr algn="ctr" eaLnBrk="0" hangingPunct="0">
              <a:buFont typeface="Webdings" pitchFamily="18" charset="2"/>
              <a:buNone/>
            </a:pPr>
            <a:r>
              <a:rPr lang="de-DE" altLang="en-US" sz="1400" dirty="0" err="1">
                <a:solidFill>
                  <a:schemeClr val="bg1"/>
                </a:solidFill>
              </a:rPr>
              <a:t>Bending</a:t>
            </a:r>
            <a:endParaRPr lang="de-DE" altLang="en-US" sz="1400" dirty="0">
              <a:solidFill>
                <a:schemeClr val="bg1"/>
              </a:solidFill>
            </a:endParaRPr>
          </a:p>
        </p:txBody>
      </p:sp>
      <p:sp>
        <p:nvSpPr>
          <p:cNvPr id="72" name="AutoShape 5"/>
          <p:cNvSpPr>
            <a:spLocks noChangeArrowheads="1"/>
          </p:cNvSpPr>
          <p:nvPr>
            <p:custDataLst>
              <p:tags r:id="rId46"/>
            </p:custDataLst>
          </p:nvPr>
        </p:nvSpPr>
        <p:spPr bwMode="auto">
          <a:xfrm rot="10800000" flipV="1">
            <a:off x="8480781" y="2964024"/>
            <a:ext cx="3106167" cy="320960"/>
          </a:xfrm>
          <a:prstGeom prst="chevron">
            <a:avLst>
              <a:gd name="adj" fmla="val 24855"/>
            </a:avLst>
          </a:prstGeom>
          <a:solidFill>
            <a:srgbClr val="002060"/>
          </a:solidFill>
          <a:ln>
            <a:noFill/>
          </a:ln>
          <a:effectLst>
            <a:softEdge rad="12700"/>
          </a:effectLst>
          <a:scene3d>
            <a:camera prst="orthographicFront">
              <a:rot lat="0" lon="0" rev="0"/>
            </a:camera>
            <a:lightRig rig="contrasting" dir="t">
              <a:rot lat="0" lon="0" rev="7800000"/>
            </a:lightRig>
          </a:scene3d>
          <a:sp3d>
            <a:bevelT w="139700" h="139700"/>
          </a:sp3d>
        </p:spPr>
        <p:txBody>
          <a:bodyPr anchor="ctr">
            <a:noAutofit/>
          </a:bodyPr>
          <a:lstStyle/>
          <a:p>
            <a:pPr algn="ctr" eaLnBrk="0" hangingPunct="0">
              <a:buFont typeface="Webdings" pitchFamily="18" charset="2"/>
              <a:buNone/>
            </a:pPr>
            <a:r>
              <a:rPr lang="de-DE" altLang="en-US" sz="1400" dirty="0" err="1">
                <a:solidFill>
                  <a:schemeClr val="bg1"/>
                </a:solidFill>
              </a:rPr>
              <a:t>Ceramic</a:t>
            </a:r>
            <a:r>
              <a:rPr lang="de-DE" altLang="en-US" sz="1400" dirty="0">
                <a:solidFill>
                  <a:schemeClr val="bg1"/>
                </a:solidFill>
              </a:rPr>
              <a:t> </a:t>
            </a:r>
            <a:r>
              <a:rPr lang="de-DE" altLang="en-US" sz="1400" dirty="0" err="1">
                <a:solidFill>
                  <a:schemeClr val="bg1"/>
                </a:solidFill>
              </a:rPr>
              <a:t>Printing</a:t>
            </a:r>
            <a:r>
              <a:rPr lang="de-DE" altLang="en-US" sz="1400" dirty="0">
                <a:solidFill>
                  <a:schemeClr val="bg1"/>
                </a:solidFill>
              </a:rPr>
              <a:t> &amp; </a:t>
            </a:r>
            <a:r>
              <a:rPr lang="de-DE" altLang="en-US" sz="1400" dirty="0" err="1">
                <a:solidFill>
                  <a:schemeClr val="bg1"/>
                </a:solidFill>
              </a:rPr>
              <a:t>Baking</a:t>
            </a:r>
            <a:endParaRPr lang="de-DE" altLang="en-US" sz="1400" dirty="0">
              <a:solidFill>
                <a:schemeClr val="bg1"/>
              </a:solidFill>
            </a:endParaRPr>
          </a:p>
        </p:txBody>
      </p:sp>
      <p:sp>
        <p:nvSpPr>
          <p:cNvPr id="12" name="Slide Number Placeholder 11"/>
          <p:cNvSpPr>
            <a:spLocks noGrp="1"/>
          </p:cNvSpPr>
          <p:nvPr>
            <p:ph type="sldNum" sz="quarter" idx="12"/>
          </p:nvPr>
        </p:nvSpPr>
        <p:spPr/>
        <p:txBody>
          <a:bodyPr/>
          <a:lstStyle/>
          <a:p>
            <a:fld id="{919B753E-A5E7-4674-ACC8-1711CA16ACCF}" type="slidenum">
              <a:rPr lang="en-IN" smtClean="0"/>
              <a:t>12</a:t>
            </a:fld>
            <a:endParaRPr lang="en-IN"/>
          </a:p>
        </p:txBody>
      </p:sp>
    </p:spTree>
    <p:extLst>
      <p:ext uri="{BB962C8B-B14F-4D97-AF65-F5344CB8AC3E}">
        <p14:creationId xmlns:p14="http://schemas.microsoft.com/office/powerpoint/2010/main" val="318286693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1"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1"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grpId="2"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0" presetClass="path" presetSubtype="0" accel="50000" decel="50000" fill="hold" grpId="0" nodeType="clickEffect">
                                  <p:stCondLst>
                                    <p:cond delay="0"/>
                                  </p:stCondLst>
                                  <p:childTnLst>
                                    <p:animMotion origin="layout" path="M -4.375E-6 2.22222E-6 L -0.08671 2.22222E-6 L -0.09895 -0.01736 L -0.09895 -0.12709 L -0.08671 -0.14584 L 0.08282 -0.14514 L 0.09401 -0.13056 L 0.09401 -0.02222 L 0.08282 -0.00139 L -4.375E-6 2.22222E-6 Z " pathEditMode="relative" rAng="0" ptsTypes="AAAAAAAAAA">
                                      <p:cBhvr>
                                        <p:cTn id="20" dur="1000" fill="hold"/>
                                        <p:tgtEl>
                                          <p:spTgt spid="4"/>
                                        </p:tgtEl>
                                        <p:attrNameLst>
                                          <p:attrName>ppt_x</p:attrName>
                                          <p:attrName>ppt_y</p:attrName>
                                        </p:attrNameLst>
                                      </p:cBhvr>
                                      <p:rCtr x="-247" y="-7292"/>
                                    </p:animMotion>
                                  </p:childTnLst>
                                </p:cTn>
                              </p:par>
                              <p:par>
                                <p:cTn id="21" presetID="9" presetClass="emph" presetSubtype="0" grpId="2" nodeType="withEffect">
                                  <p:stCondLst>
                                    <p:cond delay="0"/>
                                  </p:stCondLst>
                                  <p:childTnLst>
                                    <p:set>
                                      <p:cBhvr rctx="PPT">
                                        <p:cTn id="22" dur="2000"/>
                                        <p:tgtEl>
                                          <p:spTgt spid="26"/>
                                        </p:tgtEl>
                                        <p:attrNameLst>
                                          <p:attrName>style.opacity</p:attrName>
                                        </p:attrNameLst>
                                      </p:cBhvr>
                                      <p:to>
                                        <p:strVal val="0.5"/>
                                      </p:to>
                                    </p:set>
                                    <p:animEffect filter="image" prLst="opacity: 0.5">
                                      <p:cBhvr rctx="IE">
                                        <p:cTn id="23" dur="2000"/>
                                        <p:tgtEl>
                                          <p:spTgt spid="26"/>
                                        </p:tgtEl>
                                      </p:cBhvr>
                                    </p:animEffect>
                                  </p:childTnLst>
                                </p:cTn>
                              </p:par>
                            </p:childTnLst>
                          </p:cTn>
                        </p:par>
                        <p:par>
                          <p:cTn id="24" fill="hold">
                            <p:stCondLst>
                              <p:cond delay="2000"/>
                            </p:stCondLst>
                            <p:childTnLst>
                              <p:par>
                                <p:cTn id="25" presetID="10" presetClass="exit" presetSubtype="0" fill="hold" grpId="0" nodeType="afterEffect">
                                  <p:stCondLst>
                                    <p:cond delay="0"/>
                                  </p:stCondLst>
                                  <p:childTnLst>
                                    <p:animEffect transition="out" filter="fade">
                                      <p:cBhvr>
                                        <p:cTn id="26" dur="500"/>
                                        <p:tgtEl>
                                          <p:spTgt spid="26"/>
                                        </p:tgtEl>
                                      </p:cBhvr>
                                    </p:animEffect>
                                    <p:set>
                                      <p:cBhvr>
                                        <p:cTn id="27" dur="1" fill="hold">
                                          <p:stCondLst>
                                            <p:cond delay="499"/>
                                          </p:stCondLst>
                                        </p:cTn>
                                        <p:tgtEl>
                                          <p:spTgt spid="26"/>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500"/>
                                        <p:tgtEl>
                                          <p:spTgt spid="58"/>
                                        </p:tgtEl>
                                      </p:cBhvr>
                                    </p:animEffect>
                                  </p:childTnLst>
                                </p:cTn>
                              </p:par>
                            </p:childTnLst>
                          </p:cTn>
                        </p:par>
                      </p:childTnLst>
                    </p:cTn>
                  </p:par>
                  <p:par>
                    <p:cTn id="33" fill="hold">
                      <p:stCondLst>
                        <p:cond delay="indefinite"/>
                      </p:stCondLst>
                      <p:childTnLst>
                        <p:par>
                          <p:cTn id="34" fill="hold">
                            <p:stCondLst>
                              <p:cond delay="0"/>
                            </p:stCondLst>
                            <p:childTnLst>
                              <p:par>
                                <p:cTn id="35" presetID="42" presetClass="path" presetSubtype="0" accel="50000" decel="50000" fill="hold" grpId="0" nodeType="clickEffect">
                                  <p:stCondLst>
                                    <p:cond delay="0"/>
                                  </p:stCondLst>
                                  <p:childTnLst>
                                    <p:animMotion origin="layout" path="M -2.08333E-7 1.85185E-6 L 0.28789 -0.00301 " pathEditMode="relative" rAng="0" ptsTypes="AA">
                                      <p:cBhvr>
                                        <p:cTn id="36" dur="2000" fill="hold"/>
                                        <p:tgtEl>
                                          <p:spTgt spid="3"/>
                                        </p:tgtEl>
                                        <p:attrNameLst>
                                          <p:attrName>ppt_x</p:attrName>
                                          <p:attrName>ppt_y</p:attrName>
                                        </p:attrNameLst>
                                      </p:cBhvr>
                                      <p:rCtr x="14388" y="-162"/>
                                    </p:animMotion>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1" nodeType="clickEffect">
                                  <p:stCondLst>
                                    <p:cond delay="0"/>
                                  </p:stCondLst>
                                  <p:childTnLst>
                                    <p:set>
                                      <p:cBhvr>
                                        <p:cTn id="40" dur="1" fill="hold">
                                          <p:stCondLst>
                                            <p:cond delay="0"/>
                                          </p:stCondLst>
                                        </p:cTn>
                                        <p:tgtEl>
                                          <p:spTgt spid="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0" presetClass="path" presetSubtype="0" accel="50000" decel="50000" fill="hold" grpId="0" nodeType="clickEffect">
                                  <p:stCondLst>
                                    <p:cond delay="0"/>
                                  </p:stCondLst>
                                  <p:childTnLst>
                                    <p:animMotion origin="layout" path="M 1.875E-6 -3.7037E-7 L -0.12656 -3.7037E-7 L -0.14414 -0.03194 L -0.14414 -0.1375 L -0.12591 -0.17083 L 0.01719 -0.17083 L 0.03945 -0.14306 L 0.03945 -0.03542 L 0.02265 -0.00139 L 0.00325 0.00069 " pathEditMode="relative" rAng="0" ptsTypes="AAAAAAAAAA">
                                      <p:cBhvr>
                                        <p:cTn id="44" dur="2000" fill="hold"/>
                                        <p:tgtEl>
                                          <p:spTgt spid="8"/>
                                        </p:tgtEl>
                                        <p:attrNameLst>
                                          <p:attrName>ppt_x</p:attrName>
                                          <p:attrName>ppt_y</p:attrName>
                                        </p:attrNameLst>
                                      </p:cBhvr>
                                      <p:rCtr x="-5234" y="-8519"/>
                                    </p:animMotion>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60"/>
                                        </p:tgtEl>
                                        <p:attrNameLst>
                                          <p:attrName>style.visibility</p:attrName>
                                        </p:attrNameLst>
                                      </p:cBhvr>
                                      <p:to>
                                        <p:strVal val="visible"/>
                                      </p:to>
                                    </p:set>
                                    <p:animEffect transition="in" filter="fade">
                                      <p:cBhvr>
                                        <p:cTn id="49" dur="500"/>
                                        <p:tgtEl>
                                          <p:spTgt spid="60"/>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nodeType="clickEffect">
                                  <p:stCondLst>
                                    <p:cond delay="0"/>
                                  </p:stCondLst>
                                  <p:childTnLst>
                                    <p:set>
                                      <p:cBhvr>
                                        <p:cTn id="53" dur="1" fill="hold">
                                          <p:stCondLst>
                                            <p:cond delay="0"/>
                                          </p:stCondLst>
                                        </p:cTn>
                                        <p:tgtEl>
                                          <p:spTgt spid="7"/>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6"/>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42" presetClass="path" presetSubtype="0" accel="50000" decel="50000" fill="hold" grpId="1" nodeType="clickEffect">
                                  <p:stCondLst>
                                    <p:cond delay="0"/>
                                  </p:stCondLst>
                                  <p:childTnLst>
                                    <p:animMotion origin="layout" path="M 0.28789 -0.00301 L 0.59557 0.00254 " pathEditMode="relative" rAng="0" ptsTypes="AA">
                                      <p:cBhvr>
                                        <p:cTn id="59" dur="2000" fill="hold"/>
                                        <p:tgtEl>
                                          <p:spTgt spid="3"/>
                                        </p:tgtEl>
                                        <p:attrNameLst>
                                          <p:attrName>ppt_x</p:attrName>
                                          <p:attrName>ppt_y</p:attrName>
                                        </p:attrNameLst>
                                      </p:cBhvr>
                                      <p:rCtr x="15573" y="278"/>
                                    </p:animMotion>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grpId="0" nodeType="clickEffect">
                                  <p:stCondLst>
                                    <p:cond delay="0"/>
                                  </p:stCondLst>
                                  <p:childTnLst>
                                    <p:set>
                                      <p:cBhvr>
                                        <p:cTn id="63" dur="1" fill="hold">
                                          <p:stCondLst>
                                            <p:cond delay="0"/>
                                          </p:stCondLst>
                                        </p:cTn>
                                        <p:tgtEl>
                                          <p:spTgt spid="13"/>
                                        </p:tgtEl>
                                        <p:attrNameLst>
                                          <p:attrName>style.visibility</p:attrName>
                                        </p:attrNameLst>
                                      </p:cBhvr>
                                      <p:to>
                                        <p:strVal val="visible"/>
                                      </p:to>
                                    </p:set>
                                  </p:childTnLst>
                                </p:cTn>
                              </p:par>
                              <p:par>
                                <p:cTn id="64" presetID="1" presetClass="entr" presetSubtype="0" fill="hold" grpId="0" nodeType="withEffect">
                                  <p:stCondLst>
                                    <p:cond delay="0"/>
                                  </p:stCondLst>
                                  <p:childTnLst>
                                    <p:set>
                                      <p:cBhvr>
                                        <p:cTn id="65" dur="1" fill="hold">
                                          <p:stCondLst>
                                            <p:cond delay="0"/>
                                          </p:stCondLst>
                                        </p:cTn>
                                        <p:tgtEl>
                                          <p:spTgt spid="29"/>
                                        </p:tgtEl>
                                        <p:attrNameLst>
                                          <p:attrName>style.visibility</p:attrName>
                                        </p:attrNameLst>
                                      </p:cBhvr>
                                      <p:to>
                                        <p:strVal val="visible"/>
                                      </p:to>
                                    </p:set>
                                  </p:childTnLst>
                                </p:cTn>
                              </p:par>
                              <p:par>
                                <p:cTn id="66" presetID="1" presetClass="entr" presetSubtype="0" fill="hold" grpId="0" nodeType="withEffect">
                                  <p:stCondLst>
                                    <p:cond delay="0"/>
                                  </p:stCondLst>
                                  <p:childTnLst>
                                    <p:set>
                                      <p:cBhvr>
                                        <p:cTn id="67" dur="1" fill="hold">
                                          <p:stCondLst>
                                            <p:cond delay="0"/>
                                          </p:stCondLst>
                                        </p:cTn>
                                        <p:tgtEl>
                                          <p:spTgt spid="31"/>
                                        </p:tgtEl>
                                        <p:attrNameLst>
                                          <p:attrName>style.visibility</p:attrName>
                                        </p:attrNameLst>
                                      </p:cBhvr>
                                      <p:to>
                                        <p:strVal val="visible"/>
                                      </p:to>
                                    </p:set>
                                  </p:childTnLst>
                                </p:cTn>
                              </p:par>
                              <p:par>
                                <p:cTn id="68" presetID="1" presetClass="entr" presetSubtype="0" fill="hold" grpId="0" nodeType="withEffect">
                                  <p:stCondLst>
                                    <p:cond delay="0"/>
                                  </p:stCondLst>
                                  <p:childTnLst>
                                    <p:set>
                                      <p:cBhvr>
                                        <p:cTn id="69" dur="1" fill="hold">
                                          <p:stCondLst>
                                            <p:cond delay="0"/>
                                          </p:stCondLst>
                                        </p:cTn>
                                        <p:tgtEl>
                                          <p:spTgt spid="34"/>
                                        </p:tgtEl>
                                        <p:attrNameLst>
                                          <p:attrName>style.visibility</p:attrName>
                                        </p:attrNameLst>
                                      </p:cBhvr>
                                      <p:to>
                                        <p:strVal val="visible"/>
                                      </p:to>
                                    </p:set>
                                  </p:childTnLst>
                                </p:cTn>
                              </p:par>
                              <p:par>
                                <p:cTn id="70" presetID="1" presetClass="entr" presetSubtype="0" fill="hold" grpId="0" nodeType="withEffect">
                                  <p:stCondLst>
                                    <p:cond delay="0"/>
                                  </p:stCondLst>
                                  <p:childTnLst>
                                    <p:set>
                                      <p:cBhvr>
                                        <p:cTn id="71" dur="1" fill="hold">
                                          <p:stCondLst>
                                            <p:cond delay="0"/>
                                          </p:stCondLst>
                                        </p:cTn>
                                        <p:tgtEl>
                                          <p:spTgt spid="36"/>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38"/>
                                        </p:tgtEl>
                                        <p:attrNameLst>
                                          <p:attrName>style.visibility</p:attrName>
                                        </p:attrNameLst>
                                      </p:cBhvr>
                                      <p:to>
                                        <p:strVal val="visible"/>
                                      </p:to>
                                    </p:set>
                                  </p:childTnLst>
                                </p:cTn>
                              </p:par>
                              <p:par>
                                <p:cTn id="74" presetID="55" presetClass="exit" presetSubtype="0" repeatCount="indefinite" fill="hold" grpId="1" nodeType="withEffect">
                                  <p:stCondLst>
                                    <p:cond delay="0"/>
                                  </p:stCondLst>
                                  <p:endCondLst>
                                    <p:cond evt="onNext" delay="0">
                                      <p:tgtEl>
                                        <p:sldTgt/>
                                      </p:tgtEl>
                                    </p:cond>
                                  </p:endCondLst>
                                  <p:childTnLst>
                                    <p:anim calcmode="lin" valueType="num">
                                      <p:cBhvr>
                                        <p:cTn id="75" dur="1000"/>
                                        <p:tgtEl>
                                          <p:spTgt spid="13"/>
                                        </p:tgtEl>
                                        <p:attrNameLst>
                                          <p:attrName>ppt_w</p:attrName>
                                        </p:attrNameLst>
                                      </p:cBhvr>
                                      <p:tavLst>
                                        <p:tav tm="0">
                                          <p:val>
                                            <p:strVal val="ppt_w"/>
                                          </p:val>
                                        </p:tav>
                                        <p:tav tm="100000">
                                          <p:val>
                                            <p:strVal val="ppt_w*0.70"/>
                                          </p:val>
                                        </p:tav>
                                      </p:tavLst>
                                    </p:anim>
                                    <p:anim calcmode="lin" valueType="num">
                                      <p:cBhvr>
                                        <p:cTn id="76" dur="1000"/>
                                        <p:tgtEl>
                                          <p:spTgt spid="13"/>
                                        </p:tgtEl>
                                        <p:attrNameLst>
                                          <p:attrName>ppt_h</p:attrName>
                                        </p:attrNameLst>
                                      </p:cBhvr>
                                      <p:tavLst>
                                        <p:tav tm="0">
                                          <p:val>
                                            <p:strVal val="ppt_h"/>
                                          </p:val>
                                        </p:tav>
                                        <p:tav tm="100000">
                                          <p:val>
                                            <p:strVal val="ppt_h"/>
                                          </p:val>
                                        </p:tav>
                                      </p:tavLst>
                                    </p:anim>
                                    <p:animEffect transition="out" filter="fade">
                                      <p:cBhvr>
                                        <p:cTn id="77" dur="1000"/>
                                        <p:tgtEl>
                                          <p:spTgt spid="13"/>
                                        </p:tgtEl>
                                      </p:cBhvr>
                                    </p:animEffect>
                                    <p:set>
                                      <p:cBhvr>
                                        <p:cTn id="78" dur="1" fill="hold">
                                          <p:stCondLst>
                                            <p:cond delay="999"/>
                                          </p:stCondLst>
                                        </p:cTn>
                                        <p:tgtEl>
                                          <p:spTgt spid="13"/>
                                        </p:tgtEl>
                                        <p:attrNameLst>
                                          <p:attrName>style.visibility</p:attrName>
                                        </p:attrNameLst>
                                      </p:cBhvr>
                                      <p:to>
                                        <p:strVal val="hidden"/>
                                      </p:to>
                                    </p:set>
                                  </p:childTnLst>
                                </p:cTn>
                              </p:par>
                              <p:par>
                                <p:cTn id="79" presetID="55" presetClass="exit" presetSubtype="0" repeatCount="indefinite" fill="hold" grpId="1" nodeType="withEffect">
                                  <p:stCondLst>
                                    <p:cond delay="0"/>
                                  </p:stCondLst>
                                  <p:endCondLst>
                                    <p:cond evt="onNext" delay="0">
                                      <p:tgtEl>
                                        <p:sldTgt/>
                                      </p:tgtEl>
                                    </p:cond>
                                  </p:endCondLst>
                                  <p:childTnLst>
                                    <p:anim calcmode="lin" valueType="num">
                                      <p:cBhvr>
                                        <p:cTn id="80" dur="1000"/>
                                        <p:tgtEl>
                                          <p:spTgt spid="29"/>
                                        </p:tgtEl>
                                        <p:attrNameLst>
                                          <p:attrName>ppt_w</p:attrName>
                                        </p:attrNameLst>
                                      </p:cBhvr>
                                      <p:tavLst>
                                        <p:tav tm="0">
                                          <p:val>
                                            <p:strVal val="ppt_w"/>
                                          </p:val>
                                        </p:tav>
                                        <p:tav tm="100000">
                                          <p:val>
                                            <p:strVal val="ppt_w*0.70"/>
                                          </p:val>
                                        </p:tav>
                                      </p:tavLst>
                                    </p:anim>
                                    <p:anim calcmode="lin" valueType="num">
                                      <p:cBhvr>
                                        <p:cTn id="81" dur="1000"/>
                                        <p:tgtEl>
                                          <p:spTgt spid="29"/>
                                        </p:tgtEl>
                                        <p:attrNameLst>
                                          <p:attrName>ppt_h</p:attrName>
                                        </p:attrNameLst>
                                      </p:cBhvr>
                                      <p:tavLst>
                                        <p:tav tm="0">
                                          <p:val>
                                            <p:strVal val="ppt_h"/>
                                          </p:val>
                                        </p:tav>
                                        <p:tav tm="100000">
                                          <p:val>
                                            <p:strVal val="ppt_h"/>
                                          </p:val>
                                        </p:tav>
                                      </p:tavLst>
                                    </p:anim>
                                    <p:animEffect transition="out" filter="fade">
                                      <p:cBhvr>
                                        <p:cTn id="82" dur="1000"/>
                                        <p:tgtEl>
                                          <p:spTgt spid="29"/>
                                        </p:tgtEl>
                                      </p:cBhvr>
                                    </p:animEffect>
                                    <p:set>
                                      <p:cBhvr>
                                        <p:cTn id="83" dur="1" fill="hold">
                                          <p:stCondLst>
                                            <p:cond delay="999"/>
                                          </p:stCondLst>
                                        </p:cTn>
                                        <p:tgtEl>
                                          <p:spTgt spid="29"/>
                                        </p:tgtEl>
                                        <p:attrNameLst>
                                          <p:attrName>style.visibility</p:attrName>
                                        </p:attrNameLst>
                                      </p:cBhvr>
                                      <p:to>
                                        <p:strVal val="hidden"/>
                                      </p:to>
                                    </p:set>
                                  </p:childTnLst>
                                </p:cTn>
                              </p:par>
                              <p:par>
                                <p:cTn id="84" presetID="55" presetClass="exit" presetSubtype="0" repeatCount="indefinite" fill="hold" grpId="1" nodeType="withEffect">
                                  <p:stCondLst>
                                    <p:cond delay="0"/>
                                  </p:stCondLst>
                                  <p:endCondLst>
                                    <p:cond evt="onNext" delay="0">
                                      <p:tgtEl>
                                        <p:sldTgt/>
                                      </p:tgtEl>
                                    </p:cond>
                                  </p:endCondLst>
                                  <p:childTnLst>
                                    <p:anim calcmode="lin" valueType="num">
                                      <p:cBhvr>
                                        <p:cTn id="85" dur="1000"/>
                                        <p:tgtEl>
                                          <p:spTgt spid="31"/>
                                        </p:tgtEl>
                                        <p:attrNameLst>
                                          <p:attrName>ppt_w</p:attrName>
                                        </p:attrNameLst>
                                      </p:cBhvr>
                                      <p:tavLst>
                                        <p:tav tm="0">
                                          <p:val>
                                            <p:strVal val="ppt_w"/>
                                          </p:val>
                                        </p:tav>
                                        <p:tav tm="100000">
                                          <p:val>
                                            <p:strVal val="ppt_w*0.70"/>
                                          </p:val>
                                        </p:tav>
                                      </p:tavLst>
                                    </p:anim>
                                    <p:anim calcmode="lin" valueType="num">
                                      <p:cBhvr>
                                        <p:cTn id="86" dur="1000"/>
                                        <p:tgtEl>
                                          <p:spTgt spid="31"/>
                                        </p:tgtEl>
                                        <p:attrNameLst>
                                          <p:attrName>ppt_h</p:attrName>
                                        </p:attrNameLst>
                                      </p:cBhvr>
                                      <p:tavLst>
                                        <p:tav tm="0">
                                          <p:val>
                                            <p:strVal val="ppt_h"/>
                                          </p:val>
                                        </p:tav>
                                        <p:tav tm="100000">
                                          <p:val>
                                            <p:strVal val="ppt_h"/>
                                          </p:val>
                                        </p:tav>
                                      </p:tavLst>
                                    </p:anim>
                                    <p:animEffect transition="out" filter="fade">
                                      <p:cBhvr>
                                        <p:cTn id="87" dur="1000"/>
                                        <p:tgtEl>
                                          <p:spTgt spid="31"/>
                                        </p:tgtEl>
                                      </p:cBhvr>
                                    </p:animEffect>
                                    <p:set>
                                      <p:cBhvr>
                                        <p:cTn id="88" dur="1" fill="hold">
                                          <p:stCondLst>
                                            <p:cond delay="999"/>
                                          </p:stCondLst>
                                        </p:cTn>
                                        <p:tgtEl>
                                          <p:spTgt spid="31"/>
                                        </p:tgtEl>
                                        <p:attrNameLst>
                                          <p:attrName>style.visibility</p:attrName>
                                        </p:attrNameLst>
                                      </p:cBhvr>
                                      <p:to>
                                        <p:strVal val="hidden"/>
                                      </p:to>
                                    </p:set>
                                  </p:childTnLst>
                                </p:cTn>
                              </p:par>
                              <p:par>
                                <p:cTn id="89" presetID="55" presetClass="exit" presetSubtype="0" repeatCount="indefinite" fill="hold" grpId="1" nodeType="withEffect">
                                  <p:stCondLst>
                                    <p:cond delay="0"/>
                                  </p:stCondLst>
                                  <p:endCondLst>
                                    <p:cond evt="onNext" delay="0">
                                      <p:tgtEl>
                                        <p:sldTgt/>
                                      </p:tgtEl>
                                    </p:cond>
                                  </p:endCondLst>
                                  <p:childTnLst>
                                    <p:anim calcmode="lin" valueType="num">
                                      <p:cBhvr>
                                        <p:cTn id="90" dur="1000"/>
                                        <p:tgtEl>
                                          <p:spTgt spid="34"/>
                                        </p:tgtEl>
                                        <p:attrNameLst>
                                          <p:attrName>ppt_w</p:attrName>
                                        </p:attrNameLst>
                                      </p:cBhvr>
                                      <p:tavLst>
                                        <p:tav tm="0">
                                          <p:val>
                                            <p:strVal val="ppt_w"/>
                                          </p:val>
                                        </p:tav>
                                        <p:tav tm="100000">
                                          <p:val>
                                            <p:strVal val="ppt_w*0.70"/>
                                          </p:val>
                                        </p:tav>
                                      </p:tavLst>
                                    </p:anim>
                                    <p:anim calcmode="lin" valueType="num">
                                      <p:cBhvr>
                                        <p:cTn id="91" dur="1000"/>
                                        <p:tgtEl>
                                          <p:spTgt spid="34"/>
                                        </p:tgtEl>
                                        <p:attrNameLst>
                                          <p:attrName>ppt_h</p:attrName>
                                        </p:attrNameLst>
                                      </p:cBhvr>
                                      <p:tavLst>
                                        <p:tav tm="0">
                                          <p:val>
                                            <p:strVal val="ppt_h"/>
                                          </p:val>
                                        </p:tav>
                                        <p:tav tm="100000">
                                          <p:val>
                                            <p:strVal val="ppt_h"/>
                                          </p:val>
                                        </p:tav>
                                      </p:tavLst>
                                    </p:anim>
                                    <p:animEffect transition="out" filter="fade">
                                      <p:cBhvr>
                                        <p:cTn id="92" dur="1000"/>
                                        <p:tgtEl>
                                          <p:spTgt spid="34"/>
                                        </p:tgtEl>
                                      </p:cBhvr>
                                    </p:animEffect>
                                    <p:set>
                                      <p:cBhvr>
                                        <p:cTn id="93" dur="1" fill="hold">
                                          <p:stCondLst>
                                            <p:cond delay="999"/>
                                          </p:stCondLst>
                                        </p:cTn>
                                        <p:tgtEl>
                                          <p:spTgt spid="34"/>
                                        </p:tgtEl>
                                        <p:attrNameLst>
                                          <p:attrName>style.visibility</p:attrName>
                                        </p:attrNameLst>
                                      </p:cBhvr>
                                      <p:to>
                                        <p:strVal val="hidden"/>
                                      </p:to>
                                    </p:set>
                                  </p:childTnLst>
                                </p:cTn>
                              </p:par>
                              <p:par>
                                <p:cTn id="94" presetID="55" presetClass="exit" presetSubtype="0" repeatCount="indefinite" fill="hold" grpId="1" nodeType="withEffect">
                                  <p:stCondLst>
                                    <p:cond delay="0"/>
                                  </p:stCondLst>
                                  <p:endCondLst>
                                    <p:cond evt="onNext" delay="0">
                                      <p:tgtEl>
                                        <p:sldTgt/>
                                      </p:tgtEl>
                                    </p:cond>
                                  </p:endCondLst>
                                  <p:childTnLst>
                                    <p:anim calcmode="lin" valueType="num">
                                      <p:cBhvr>
                                        <p:cTn id="95" dur="1000"/>
                                        <p:tgtEl>
                                          <p:spTgt spid="36"/>
                                        </p:tgtEl>
                                        <p:attrNameLst>
                                          <p:attrName>ppt_w</p:attrName>
                                        </p:attrNameLst>
                                      </p:cBhvr>
                                      <p:tavLst>
                                        <p:tav tm="0">
                                          <p:val>
                                            <p:strVal val="ppt_w"/>
                                          </p:val>
                                        </p:tav>
                                        <p:tav tm="100000">
                                          <p:val>
                                            <p:strVal val="ppt_w*0.70"/>
                                          </p:val>
                                        </p:tav>
                                      </p:tavLst>
                                    </p:anim>
                                    <p:anim calcmode="lin" valueType="num">
                                      <p:cBhvr>
                                        <p:cTn id="96" dur="1000"/>
                                        <p:tgtEl>
                                          <p:spTgt spid="36"/>
                                        </p:tgtEl>
                                        <p:attrNameLst>
                                          <p:attrName>ppt_h</p:attrName>
                                        </p:attrNameLst>
                                      </p:cBhvr>
                                      <p:tavLst>
                                        <p:tav tm="0">
                                          <p:val>
                                            <p:strVal val="ppt_h"/>
                                          </p:val>
                                        </p:tav>
                                        <p:tav tm="100000">
                                          <p:val>
                                            <p:strVal val="ppt_h"/>
                                          </p:val>
                                        </p:tav>
                                      </p:tavLst>
                                    </p:anim>
                                    <p:animEffect transition="out" filter="fade">
                                      <p:cBhvr>
                                        <p:cTn id="97" dur="1000"/>
                                        <p:tgtEl>
                                          <p:spTgt spid="36"/>
                                        </p:tgtEl>
                                      </p:cBhvr>
                                    </p:animEffect>
                                    <p:set>
                                      <p:cBhvr>
                                        <p:cTn id="98" dur="1" fill="hold">
                                          <p:stCondLst>
                                            <p:cond delay="999"/>
                                          </p:stCondLst>
                                        </p:cTn>
                                        <p:tgtEl>
                                          <p:spTgt spid="36"/>
                                        </p:tgtEl>
                                        <p:attrNameLst>
                                          <p:attrName>style.visibility</p:attrName>
                                        </p:attrNameLst>
                                      </p:cBhvr>
                                      <p:to>
                                        <p:strVal val="hidden"/>
                                      </p:to>
                                    </p:set>
                                  </p:childTnLst>
                                </p:cTn>
                              </p:par>
                              <p:par>
                                <p:cTn id="99" presetID="55" presetClass="exit" presetSubtype="0" repeatCount="indefinite" fill="hold" grpId="1" nodeType="withEffect">
                                  <p:stCondLst>
                                    <p:cond delay="0"/>
                                  </p:stCondLst>
                                  <p:endCondLst>
                                    <p:cond evt="onNext" delay="0">
                                      <p:tgtEl>
                                        <p:sldTgt/>
                                      </p:tgtEl>
                                    </p:cond>
                                  </p:endCondLst>
                                  <p:childTnLst>
                                    <p:anim calcmode="lin" valueType="num">
                                      <p:cBhvr>
                                        <p:cTn id="100" dur="1000"/>
                                        <p:tgtEl>
                                          <p:spTgt spid="38"/>
                                        </p:tgtEl>
                                        <p:attrNameLst>
                                          <p:attrName>ppt_w</p:attrName>
                                        </p:attrNameLst>
                                      </p:cBhvr>
                                      <p:tavLst>
                                        <p:tav tm="0">
                                          <p:val>
                                            <p:strVal val="ppt_w"/>
                                          </p:val>
                                        </p:tav>
                                        <p:tav tm="100000">
                                          <p:val>
                                            <p:strVal val="ppt_w*0.70"/>
                                          </p:val>
                                        </p:tav>
                                      </p:tavLst>
                                    </p:anim>
                                    <p:anim calcmode="lin" valueType="num">
                                      <p:cBhvr>
                                        <p:cTn id="101" dur="1000"/>
                                        <p:tgtEl>
                                          <p:spTgt spid="38"/>
                                        </p:tgtEl>
                                        <p:attrNameLst>
                                          <p:attrName>ppt_h</p:attrName>
                                        </p:attrNameLst>
                                      </p:cBhvr>
                                      <p:tavLst>
                                        <p:tav tm="0">
                                          <p:val>
                                            <p:strVal val="ppt_h"/>
                                          </p:val>
                                        </p:tav>
                                        <p:tav tm="100000">
                                          <p:val>
                                            <p:strVal val="ppt_h"/>
                                          </p:val>
                                        </p:tav>
                                      </p:tavLst>
                                    </p:anim>
                                    <p:animEffect transition="out" filter="fade">
                                      <p:cBhvr>
                                        <p:cTn id="102" dur="1000"/>
                                        <p:tgtEl>
                                          <p:spTgt spid="38"/>
                                        </p:tgtEl>
                                      </p:cBhvr>
                                    </p:animEffect>
                                    <p:set>
                                      <p:cBhvr>
                                        <p:cTn id="103" dur="1" fill="hold">
                                          <p:stCondLst>
                                            <p:cond delay="999"/>
                                          </p:stCondLst>
                                        </p:cTn>
                                        <p:tgtEl>
                                          <p:spTgt spid="38"/>
                                        </p:tgtEl>
                                        <p:attrNameLst>
                                          <p:attrName>style.visibility</p:attrName>
                                        </p:attrNameLst>
                                      </p:cBhvr>
                                      <p:to>
                                        <p:strVal val="hidden"/>
                                      </p:to>
                                    </p:se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grpId="0" nodeType="clickEffect">
                                  <p:stCondLst>
                                    <p:cond delay="0"/>
                                  </p:stCondLst>
                                  <p:childTnLst>
                                    <p:set>
                                      <p:cBhvr>
                                        <p:cTn id="107" dur="1" fill="hold">
                                          <p:stCondLst>
                                            <p:cond delay="0"/>
                                          </p:stCondLst>
                                        </p:cTn>
                                        <p:tgtEl>
                                          <p:spTgt spid="72"/>
                                        </p:tgtEl>
                                        <p:attrNameLst>
                                          <p:attrName>style.visibility</p:attrName>
                                        </p:attrNameLst>
                                      </p:cBhvr>
                                      <p:to>
                                        <p:strVal val="visible"/>
                                      </p:to>
                                    </p:set>
                                    <p:animEffect transition="in" filter="fade">
                                      <p:cBhvr>
                                        <p:cTn id="108" dur="500"/>
                                        <p:tgtEl>
                                          <p:spTgt spid="72"/>
                                        </p:tgtEl>
                                      </p:cBhvr>
                                    </p:animEffect>
                                  </p:childTnLst>
                                </p:cTn>
                              </p:par>
                            </p:childTnLst>
                          </p:cTn>
                        </p:par>
                      </p:childTnLst>
                    </p:cTn>
                  </p:par>
                  <p:par>
                    <p:cTn id="109" fill="hold">
                      <p:stCondLst>
                        <p:cond delay="indefinite"/>
                      </p:stCondLst>
                      <p:childTnLst>
                        <p:par>
                          <p:cTn id="110" fill="hold">
                            <p:stCondLst>
                              <p:cond delay="0"/>
                            </p:stCondLst>
                            <p:childTnLst>
                              <p:par>
                                <p:cTn id="111" presetID="42" presetClass="path" presetSubtype="0" accel="50000" decel="50000" fill="hold" grpId="3" nodeType="clickEffect">
                                  <p:stCondLst>
                                    <p:cond delay="0"/>
                                  </p:stCondLst>
                                  <p:childTnLst>
                                    <p:animMotion origin="layout" path="M 0.59557 0.00254 L 0.59297 0.25 " pathEditMode="relative" rAng="0" ptsTypes="AA">
                                      <p:cBhvr>
                                        <p:cTn id="112" dur="2000" fill="hold"/>
                                        <p:tgtEl>
                                          <p:spTgt spid="3"/>
                                        </p:tgtEl>
                                        <p:attrNameLst>
                                          <p:attrName>ppt_x</p:attrName>
                                          <p:attrName>ppt_y</p:attrName>
                                        </p:attrNameLst>
                                      </p:cBhvr>
                                      <p:rCtr x="-130" y="12361"/>
                                    </p:animMotion>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grpId="1" nodeType="clickEffect">
                                  <p:stCondLst>
                                    <p:cond delay="0"/>
                                  </p:stCondLst>
                                  <p:childTnLst>
                                    <p:set>
                                      <p:cBhvr>
                                        <p:cTn id="116" dur="1" fill="hold">
                                          <p:stCondLst>
                                            <p:cond delay="0"/>
                                          </p:stCondLst>
                                        </p:cTn>
                                        <p:tgtEl>
                                          <p:spTgt spid="7210"/>
                                        </p:tgtEl>
                                        <p:attrNameLst>
                                          <p:attrName>style.visibility</p:attrName>
                                        </p:attrNameLst>
                                      </p:cBhvr>
                                      <p:to>
                                        <p:strVal val="visible"/>
                                      </p:to>
                                    </p:set>
                                  </p:childTnLst>
                                </p:cTn>
                              </p:par>
                            </p:childTnLst>
                          </p:cTn>
                        </p:par>
                      </p:childTnLst>
                    </p:cTn>
                  </p:par>
                  <p:par>
                    <p:cTn id="117" fill="hold">
                      <p:stCondLst>
                        <p:cond delay="indefinite"/>
                      </p:stCondLst>
                      <p:childTnLst>
                        <p:par>
                          <p:cTn id="118" fill="hold">
                            <p:stCondLst>
                              <p:cond delay="0"/>
                            </p:stCondLst>
                            <p:childTnLst>
                              <p:par>
                                <p:cTn id="119" presetID="42" presetClass="path" presetSubtype="0" accel="50000" decel="50000" fill="remove" grpId="0" nodeType="clickEffect">
                                  <p:stCondLst>
                                    <p:cond delay="0"/>
                                  </p:stCondLst>
                                  <p:childTnLst>
                                    <p:animMotion origin="layout" path="M 0 2.59259E-6 L -0.23542 2.59259E-6 " pathEditMode="relative" rAng="0" ptsTypes="AA">
                                      <p:cBhvr>
                                        <p:cTn id="120" dur="5000" fill="hold"/>
                                        <p:tgtEl>
                                          <p:spTgt spid="7210"/>
                                        </p:tgtEl>
                                        <p:attrNameLst>
                                          <p:attrName>ppt_x</p:attrName>
                                          <p:attrName>ppt_y</p:attrName>
                                        </p:attrNameLst>
                                      </p:cBhvr>
                                      <p:rCtr x="-11771" y="0"/>
                                    </p:animMotion>
                                  </p:childTnLst>
                                </p:cTn>
                              </p:par>
                              <p:par>
                                <p:cTn id="121" presetID="22" presetClass="entr" presetSubtype="2" fill="hold" grpId="0" nodeType="withEffect">
                                  <p:stCondLst>
                                    <p:cond delay="500"/>
                                  </p:stCondLst>
                                  <p:childTnLst>
                                    <p:set>
                                      <p:cBhvr>
                                        <p:cTn id="122" dur="1" fill="hold">
                                          <p:stCondLst>
                                            <p:cond delay="0"/>
                                          </p:stCondLst>
                                        </p:cTn>
                                        <p:tgtEl>
                                          <p:spTgt spid="5"/>
                                        </p:tgtEl>
                                        <p:attrNameLst>
                                          <p:attrName>style.visibility</p:attrName>
                                        </p:attrNameLst>
                                      </p:cBhvr>
                                      <p:to>
                                        <p:strVal val="visible"/>
                                      </p:to>
                                    </p:set>
                                    <p:animEffect transition="in" filter="wipe(right)">
                                      <p:cBhvr>
                                        <p:cTn id="123" dur="5000"/>
                                        <p:tgtEl>
                                          <p:spTgt spid="5"/>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70"/>
                                        </p:tgtEl>
                                        <p:attrNameLst>
                                          <p:attrName>style.visibility</p:attrName>
                                        </p:attrNameLst>
                                      </p:cBhvr>
                                      <p:to>
                                        <p:strVal val="visible"/>
                                      </p:to>
                                    </p:set>
                                    <p:animEffect transition="in" filter="fade">
                                      <p:cBhvr>
                                        <p:cTn id="128" dur="500"/>
                                        <p:tgtEl>
                                          <p:spTgt spid="70"/>
                                        </p:tgtEl>
                                      </p:cBhvr>
                                    </p:animEffect>
                                  </p:childTnLst>
                                </p:cTn>
                              </p:par>
                            </p:childTnLst>
                          </p:cTn>
                        </p:par>
                      </p:childTnLst>
                    </p:cTn>
                  </p:par>
                  <p:par>
                    <p:cTn id="129" fill="hold">
                      <p:stCondLst>
                        <p:cond delay="indefinite"/>
                      </p:stCondLst>
                      <p:childTnLst>
                        <p:par>
                          <p:cTn id="130" fill="hold">
                            <p:stCondLst>
                              <p:cond delay="0"/>
                            </p:stCondLst>
                            <p:childTnLst>
                              <p:par>
                                <p:cTn id="131" presetID="1" presetClass="entr" presetSubtype="0" fill="hold" grpId="2" nodeType="clickEffect">
                                  <p:stCondLst>
                                    <p:cond delay="0"/>
                                  </p:stCondLst>
                                  <p:childTnLst>
                                    <p:set>
                                      <p:cBhvr>
                                        <p:cTn id="132" dur="1" fill="hold">
                                          <p:stCondLst>
                                            <p:cond delay="0"/>
                                          </p:stCondLst>
                                        </p:cTn>
                                        <p:tgtEl>
                                          <p:spTgt spid="66"/>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7197"/>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7198"/>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7199"/>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7200"/>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7201"/>
                                        </p:tgtEl>
                                        <p:attrNameLst>
                                          <p:attrName>style.visibility</p:attrName>
                                        </p:attrNameLst>
                                      </p:cBhvr>
                                      <p:to>
                                        <p:strVal val="visible"/>
                                      </p:to>
                                    </p:set>
                                  </p:childTnLst>
                                </p:cTn>
                              </p:par>
                              <p:par>
                                <p:cTn id="143" presetID="1" presetClass="entr" presetSubtype="0" fill="hold" grpId="0" nodeType="withEffect">
                                  <p:stCondLst>
                                    <p:cond delay="0"/>
                                  </p:stCondLst>
                                  <p:childTnLst>
                                    <p:set>
                                      <p:cBhvr>
                                        <p:cTn id="144" dur="1" fill="hold">
                                          <p:stCondLst>
                                            <p:cond delay="0"/>
                                          </p:stCondLst>
                                        </p:cTn>
                                        <p:tgtEl>
                                          <p:spTgt spid="7202"/>
                                        </p:tgtEl>
                                        <p:attrNameLst>
                                          <p:attrName>style.visibility</p:attrName>
                                        </p:attrNameLst>
                                      </p:cBhvr>
                                      <p:to>
                                        <p:strVal val="visible"/>
                                      </p:to>
                                    </p:set>
                                  </p:childTnLst>
                                </p:cTn>
                              </p:par>
                              <p:par>
                                <p:cTn id="145" presetID="1" presetClass="entr" presetSubtype="0" fill="hold" grpId="0" nodeType="withEffect">
                                  <p:stCondLst>
                                    <p:cond delay="0"/>
                                  </p:stCondLst>
                                  <p:childTnLst>
                                    <p:set>
                                      <p:cBhvr>
                                        <p:cTn id="146" dur="1" fill="hold">
                                          <p:stCondLst>
                                            <p:cond delay="0"/>
                                          </p:stCondLst>
                                        </p:cTn>
                                        <p:tgtEl>
                                          <p:spTgt spid="7203"/>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7204"/>
                                        </p:tgtEl>
                                        <p:attrNameLst>
                                          <p:attrName>style.visibility</p:attrName>
                                        </p:attrNameLst>
                                      </p:cBhvr>
                                      <p:to>
                                        <p:strVal val="visible"/>
                                      </p:to>
                                    </p:set>
                                  </p:childTnLst>
                                </p:cTn>
                              </p:par>
                              <p:par>
                                <p:cTn id="149" presetID="1" presetClass="entr" presetSubtype="0" fill="hold" grpId="0" nodeType="withEffect">
                                  <p:stCondLst>
                                    <p:cond delay="0"/>
                                  </p:stCondLst>
                                  <p:childTnLst>
                                    <p:set>
                                      <p:cBhvr>
                                        <p:cTn id="150" dur="1" fill="hold">
                                          <p:stCondLst>
                                            <p:cond delay="0"/>
                                          </p:stCondLst>
                                        </p:cTn>
                                        <p:tgtEl>
                                          <p:spTgt spid="7207"/>
                                        </p:tgtEl>
                                        <p:attrNameLst>
                                          <p:attrName>style.visibility</p:attrName>
                                        </p:attrNameLst>
                                      </p:cBhvr>
                                      <p:to>
                                        <p:strVal val="visible"/>
                                      </p:to>
                                    </p:set>
                                  </p:childTnLst>
                                </p:cTn>
                              </p:par>
                            </p:childTnLst>
                          </p:cTn>
                        </p:par>
                      </p:childTnLst>
                    </p:cTn>
                  </p:par>
                  <p:par>
                    <p:cTn id="151" fill="hold">
                      <p:stCondLst>
                        <p:cond delay="indefinite"/>
                      </p:stCondLst>
                      <p:childTnLst>
                        <p:par>
                          <p:cTn id="152" fill="hold">
                            <p:stCondLst>
                              <p:cond delay="0"/>
                            </p:stCondLst>
                            <p:childTnLst>
                              <p:par>
                                <p:cTn id="153" presetID="47" presetClass="entr" presetSubtype="0" fill="hold" nodeType="clickEffect">
                                  <p:stCondLst>
                                    <p:cond delay="0"/>
                                  </p:stCondLst>
                                  <p:childTnLst>
                                    <p:set>
                                      <p:cBhvr>
                                        <p:cTn id="154" dur="1" fill="hold">
                                          <p:stCondLst>
                                            <p:cond delay="0"/>
                                          </p:stCondLst>
                                        </p:cTn>
                                        <p:tgtEl>
                                          <p:spTgt spid="64"/>
                                        </p:tgtEl>
                                        <p:attrNameLst>
                                          <p:attrName>style.visibility</p:attrName>
                                        </p:attrNameLst>
                                      </p:cBhvr>
                                      <p:to>
                                        <p:strVal val="visible"/>
                                      </p:to>
                                    </p:set>
                                    <p:animEffect transition="in" filter="fade">
                                      <p:cBhvr>
                                        <p:cTn id="155" dur="3000"/>
                                        <p:tgtEl>
                                          <p:spTgt spid="64"/>
                                        </p:tgtEl>
                                      </p:cBhvr>
                                    </p:animEffect>
                                    <p:anim calcmode="lin" valueType="num">
                                      <p:cBhvr>
                                        <p:cTn id="156" dur="3000" fill="hold"/>
                                        <p:tgtEl>
                                          <p:spTgt spid="64"/>
                                        </p:tgtEl>
                                        <p:attrNameLst>
                                          <p:attrName>ppt_x</p:attrName>
                                        </p:attrNameLst>
                                      </p:cBhvr>
                                      <p:tavLst>
                                        <p:tav tm="0">
                                          <p:val>
                                            <p:strVal val="#ppt_x"/>
                                          </p:val>
                                        </p:tav>
                                        <p:tav tm="100000">
                                          <p:val>
                                            <p:strVal val="#ppt_x"/>
                                          </p:val>
                                        </p:tav>
                                      </p:tavLst>
                                    </p:anim>
                                    <p:anim calcmode="lin" valueType="num">
                                      <p:cBhvr>
                                        <p:cTn id="157" dur="3000" fill="hold"/>
                                        <p:tgtEl>
                                          <p:spTgt spid="64"/>
                                        </p:tgtEl>
                                        <p:attrNameLst>
                                          <p:attrName>ppt_y</p:attrName>
                                        </p:attrNameLst>
                                      </p:cBhvr>
                                      <p:tavLst>
                                        <p:tav tm="0">
                                          <p:val>
                                            <p:strVal val="#ppt_y-.1"/>
                                          </p:val>
                                        </p:tav>
                                        <p:tav tm="100000">
                                          <p:val>
                                            <p:strVal val="#ppt_y"/>
                                          </p:val>
                                        </p:tav>
                                      </p:tavLst>
                                    </p:anim>
                                  </p:childTnLst>
                                </p:cTn>
                              </p:par>
                            </p:childTnLst>
                          </p:cTn>
                        </p:par>
                      </p:childTnLst>
                    </p:cTn>
                  </p:par>
                  <p:par>
                    <p:cTn id="158" fill="hold">
                      <p:stCondLst>
                        <p:cond delay="indefinite"/>
                      </p:stCondLst>
                      <p:childTnLst>
                        <p:par>
                          <p:cTn id="159" fill="hold">
                            <p:stCondLst>
                              <p:cond delay="0"/>
                            </p:stCondLst>
                            <p:childTnLst>
                              <p:par>
                                <p:cTn id="160" presetID="47" presetClass="entr" presetSubtype="0" fill="hold" nodeType="clickEffect">
                                  <p:stCondLst>
                                    <p:cond delay="0"/>
                                  </p:stCondLst>
                                  <p:childTnLst>
                                    <p:set>
                                      <p:cBhvr>
                                        <p:cTn id="161" dur="1" fill="hold">
                                          <p:stCondLst>
                                            <p:cond delay="0"/>
                                          </p:stCondLst>
                                        </p:cTn>
                                        <p:tgtEl>
                                          <p:spTgt spid="65"/>
                                        </p:tgtEl>
                                        <p:attrNameLst>
                                          <p:attrName>style.visibility</p:attrName>
                                        </p:attrNameLst>
                                      </p:cBhvr>
                                      <p:to>
                                        <p:strVal val="visible"/>
                                      </p:to>
                                    </p:set>
                                    <p:animEffect transition="in" filter="fade">
                                      <p:cBhvr>
                                        <p:cTn id="162" dur="3000"/>
                                        <p:tgtEl>
                                          <p:spTgt spid="65"/>
                                        </p:tgtEl>
                                      </p:cBhvr>
                                    </p:animEffect>
                                    <p:anim calcmode="lin" valueType="num">
                                      <p:cBhvr>
                                        <p:cTn id="163" dur="3000" fill="hold"/>
                                        <p:tgtEl>
                                          <p:spTgt spid="65"/>
                                        </p:tgtEl>
                                        <p:attrNameLst>
                                          <p:attrName>ppt_x</p:attrName>
                                        </p:attrNameLst>
                                      </p:cBhvr>
                                      <p:tavLst>
                                        <p:tav tm="0">
                                          <p:val>
                                            <p:strVal val="#ppt_x"/>
                                          </p:val>
                                        </p:tav>
                                        <p:tav tm="100000">
                                          <p:val>
                                            <p:strVal val="#ppt_x"/>
                                          </p:val>
                                        </p:tav>
                                      </p:tavLst>
                                    </p:anim>
                                    <p:anim calcmode="lin" valueType="num">
                                      <p:cBhvr>
                                        <p:cTn id="164" dur="3000" fill="hold"/>
                                        <p:tgtEl>
                                          <p:spTgt spid="65"/>
                                        </p:tgtEl>
                                        <p:attrNameLst>
                                          <p:attrName>ppt_y</p:attrName>
                                        </p:attrNameLst>
                                      </p:cBhvr>
                                      <p:tavLst>
                                        <p:tav tm="0">
                                          <p:val>
                                            <p:strVal val="#ppt_y-.1"/>
                                          </p:val>
                                        </p:tav>
                                        <p:tav tm="100000">
                                          <p:val>
                                            <p:strVal val="#ppt_y"/>
                                          </p:val>
                                        </p:tav>
                                      </p:tavLst>
                                    </p:anim>
                                  </p:childTnLst>
                                </p:cTn>
                              </p:par>
                            </p:childTnLst>
                          </p:cTn>
                        </p:par>
                      </p:childTnLst>
                    </p:cTn>
                  </p:par>
                  <p:par>
                    <p:cTn id="165" fill="hold">
                      <p:stCondLst>
                        <p:cond delay="indefinite"/>
                      </p:stCondLst>
                      <p:childTnLst>
                        <p:par>
                          <p:cTn id="166" fill="hold">
                            <p:stCondLst>
                              <p:cond delay="0"/>
                            </p:stCondLst>
                            <p:childTnLst>
                              <p:par>
                                <p:cTn id="167" presetID="10" presetClass="entr" presetSubtype="0" fill="hold" grpId="1" nodeType="clickEffect">
                                  <p:stCondLst>
                                    <p:cond delay="0"/>
                                  </p:stCondLst>
                                  <p:childTnLst>
                                    <p:set>
                                      <p:cBhvr>
                                        <p:cTn id="168" dur="1" fill="hold">
                                          <p:stCondLst>
                                            <p:cond delay="0"/>
                                          </p:stCondLst>
                                        </p:cTn>
                                        <p:tgtEl>
                                          <p:spTgt spid="66"/>
                                        </p:tgtEl>
                                        <p:attrNameLst>
                                          <p:attrName>style.visibility</p:attrName>
                                        </p:attrNameLst>
                                      </p:cBhvr>
                                      <p:to>
                                        <p:strVal val="visible"/>
                                      </p:to>
                                    </p:set>
                                    <p:animEffect transition="in" filter="fade">
                                      <p:cBhvr>
                                        <p:cTn id="169" dur="3000"/>
                                        <p:tgtEl>
                                          <p:spTgt spid="66"/>
                                        </p:tgtEl>
                                      </p:cBhvr>
                                    </p:animEffect>
                                  </p:childTnLst>
                                </p:cTn>
                              </p:par>
                              <p:par>
                                <p:cTn id="170" presetID="27" presetClass="emph" presetSubtype="0" fill="remove" grpId="0" nodeType="withEffect">
                                  <p:stCondLst>
                                    <p:cond delay="0"/>
                                  </p:stCondLst>
                                  <p:childTnLst>
                                    <p:animClr clrSpc="rgb" dir="cw">
                                      <p:cBhvr override="childStyle">
                                        <p:cTn id="171" dur="2500" autoRev="1" fill="remove"/>
                                        <p:tgtEl>
                                          <p:spTgt spid="66"/>
                                        </p:tgtEl>
                                        <p:attrNameLst>
                                          <p:attrName>style.color</p:attrName>
                                        </p:attrNameLst>
                                      </p:cBhvr>
                                      <p:to>
                                        <a:schemeClr val="bg1"/>
                                      </p:to>
                                    </p:animClr>
                                    <p:animClr clrSpc="rgb" dir="cw">
                                      <p:cBhvr>
                                        <p:cTn id="172" dur="2500" autoRev="1" fill="remove"/>
                                        <p:tgtEl>
                                          <p:spTgt spid="66"/>
                                        </p:tgtEl>
                                        <p:attrNameLst>
                                          <p:attrName>fillcolor</p:attrName>
                                        </p:attrNameLst>
                                      </p:cBhvr>
                                      <p:to>
                                        <a:schemeClr val="bg1"/>
                                      </p:to>
                                    </p:animClr>
                                    <p:set>
                                      <p:cBhvr>
                                        <p:cTn id="173" dur="2500" autoRev="1" fill="remove"/>
                                        <p:tgtEl>
                                          <p:spTgt spid="66"/>
                                        </p:tgtEl>
                                        <p:attrNameLst>
                                          <p:attrName>fill.type</p:attrName>
                                        </p:attrNameLst>
                                      </p:cBhvr>
                                      <p:to>
                                        <p:strVal val="solid"/>
                                      </p:to>
                                    </p:set>
                                    <p:set>
                                      <p:cBhvr>
                                        <p:cTn id="174" dur="2500" autoRev="1" fill="remove"/>
                                        <p:tgtEl>
                                          <p:spTgt spid="66"/>
                                        </p:tgtEl>
                                        <p:attrNameLst>
                                          <p:attrName>fill.on</p:attrName>
                                        </p:attrNameLst>
                                      </p:cBhvr>
                                      <p:to>
                                        <p:strVal val="true"/>
                                      </p:to>
                                    </p:set>
                                  </p:childTnLst>
                                </p:cTn>
                              </p:par>
                            </p:childTnLst>
                          </p:cTn>
                        </p:par>
                      </p:childTnLst>
                    </p:cTn>
                  </p:par>
                  <p:par>
                    <p:cTn id="175" fill="hold">
                      <p:stCondLst>
                        <p:cond delay="indefinite"/>
                      </p:stCondLst>
                      <p:childTnLst>
                        <p:par>
                          <p:cTn id="176" fill="hold">
                            <p:stCondLst>
                              <p:cond delay="0"/>
                            </p:stCondLst>
                            <p:childTnLst>
                              <p:par>
                                <p:cTn id="177" presetID="10" presetClass="exit" presetSubtype="0" fill="hold" grpId="1" nodeType="clickEffect">
                                  <p:stCondLst>
                                    <p:cond delay="0"/>
                                  </p:stCondLst>
                                  <p:childTnLst>
                                    <p:animEffect transition="out" filter="fade">
                                      <p:cBhvr>
                                        <p:cTn id="178" dur="2000"/>
                                        <p:tgtEl>
                                          <p:spTgt spid="7207"/>
                                        </p:tgtEl>
                                      </p:cBhvr>
                                    </p:animEffect>
                                    <p:set>
                                      <p:cBhvr>
                                        <p:cTn id="179" dur="1" fill="hold">
                                          <p:stCondLst>
                                            <p:cond delay="1999"/>
                                          </p:stCondLst>
                                        </p:cTn>
                                        <p:tgtEl>
                                          <p:spTgt spid="7207"/>
                                        </p:tgtEl>
                                        <p:attrNameLst>
                                          <p:attrName>style.visibility</p:attrName>
                                        </p:attrNameLst>
                                      </p:cBhvr>
                                      <p:to>
                                        <p:strVal val="hidden"/>
                                      </p:to>
                                    </p:set>
                                  </p:childTnLst>
                                </p:cTn>
                              </p:par>
                              <p:par>
                                <p:cTn id="180" presetID="10" presetClass="exit" presetSubtype="0" fill="hold" nodeType="withEffect">
                                  <p:stCondLst>
                                    <p:cond delay="1500"/>
                                  </p:stCondLst>
                                  <p:childTnLst>
                                    <p:animEffect transition="out" filter="fade">
                                      <p:cBhvr>
                                        <p:cTn id="181" dur="2000"/>
                                        <p:tgtEl>
                                          <p:spTgt spid="65"/>
                                        </p:tgtEl>
                                      </p:cBhvr>
                                    </p:animEffect>
                                    <p:set>
                                      <p:cBhvr>
                                        <p:cTn id="182" dur="1" fill="hold">
                                          <p:stCondLst>
                                            <p:cond delay="1999"/>
                                          </p:stCondLst>
                                        </p:cTn>
                                        <p:tgtEl>
                                          <p:spTgt spid="65"/>
                                        </p:tgtEl>
                                        <p:attrNameLst>
                                          <p:attrName>style.visibility</p:attrName>
                                        </p:attrNameLst>
                                      </p:cBhvr>
                                      <p:to>
                                        <p:strVal val="hidden"/>
                                      </p:to>
                                    </p:set>
                                  </p:childTnLst>
                                </p:cTn>
                              </p:par>
                            </p:childTnLst>
                          </p:cTn>
                        </p:par>
                        <p:par>
                          <p:cTn id="183" fill="hold">
                            <p:stCondLst>
                              <p:cond delay="3500"/>
                            </p:stCondLst>
                            <p:childTnLst>
                              <p:par>
                                <p:cTn id="184" presetID="10" presetClass="exit" presetSubtype="0" fill="hold" nodeType="afterEffect">
                                  <p:stCondLst>
                                    <p:cond delay="0"/>
                                  </p:stCondLst>
                                  <p:childTnLst>
                                    <p:animEffect transition="out" filter="fade">
                                      <p:cBhvr>
                                        <p:cTn id="185" dur="2000"/>
                                        <p:tgtEl>
                                          <p:spTgt spid="64"/>
                                        </p:tgtEl>
                                      </p:cBhvr>
                                    </p:animEffect>
                                    <p:set>
                                      <p:cBhvr>
                                        <p:cTn id="186" dur="1" fill="hold">
                                          <p:stCondLst>
                                            <p:cond delay="1999"/>
                                          </p:stCondLst>
                                        </p:cTn>
                                        <p:tgtEl>
                                          <p:spTgt spid="64"/>
                                        </p:tgtEl>
                                        <p:attrNameLst>
                                          <p:attrName>style.visibility</p:attrName>
                                        </p:attrNameLst>
                                      </p:cBhvr>
                                      <p:to>
                                        <p:strVal val="hidden"/>
                                      </p:to>
                                    </p:set>
                                  </p:childTnLst>
                                </p:cTn>
                              </p:par>
                              <p:par>
                                <p:cTn id="187" presetID="10" presetClass="entr" presetSubtype="0" fill="hold" nodeType="withEffect">
                                  <p:stCondLst>
                                    <p:cond delay="0"/>
                                  </p:stCondLst>
                                  <p:childTnLst>
                                    <p:set>
                                      <p:cBhvr>
                                        <p:cTn id="188" dur="1" fill="hold">
                                          <p:stCondLst>
                                            <p:cond delay="0"/>
                                          </p:stCondLst>
                                        </p:cTn>
                                        <p:tgtEl>
                                          <p:spTgt spid="2"/>
                                        </p:tgtEl>
                                        <p:attrNameLst>
                                          <p:attrName>style.visibility</p:attrName>
                                        </p:attrNameLst>
                                      </p:cBhvr>
                                      <p:to>
                                        <p:strVal val="visible"/>
                                      </p:to>
                                    </p:set>
                                    <p:animEffect transition="in" filter="fade">
                                      <p:cBhvr>
                                        <p:cTn id="189" dur="3000"/>
                                        <p:tgtEl>
                                          <p:spTgt spid="2"/>
                                        </p:tgtEl>
                                      </p:cBhvr>
                                    </p:animEffect>
                                  </p:childTnLst>
                                </p:cTn>
                              </p:par>
                            </p:childTnLst>
                          </p:cTn>
                        </p:par>
                      </p:childTnLst>
                    </p:cTn>
                  </p:par>
                  <p:par>
                    <p:cTn id="190" fill="hold">
                      <p:stCondLst>
                        <p:cond delay="indefinite"/>
                      </p:stCondLst>
                      <p:childTnLst>
                        <p:par>
                          <p:cTn id="191" fill="hold">
                            <p:stCondLst>
                              <p:cond delay="0"/>
                            </p:stCondLst>
                            <p:childTnLst>
                              <p:par>
                                <p:cTn id="192" presetID="10" presetClass="entr" presetSubtype="0" fill="hold" grpId="0" nodeType="clickEffect">
                                  <p:stCondLst>
                                    <p:cond delay="0"/>
                                  </p:stCondLst>
                                  <p:childTnLst>
                                    <p:set>
                                      <p:cBhvr>
                                        <p:cTn id="193" dur="1" fill="hold">
                                          <p:stCondLst>
                                            <p:cond delay="0"/>
                                          </p:stCondLst>
                                        </p:cTn>
                                        <p:tgtEl>
                                          <p:spTgt spid="73"/>
                                        </p:tgtEl>
                                        <p:attrNameLst>
                                          <p:attrName>style.visibility</p:attrName>
                                        </p:attrNameLst>
                                      </p:cBhvr>
                                      <p:to>
                                        <p:strVal val="visible"/>
                                      </p:to>
                                    </p:set>
                                    <p:animEffect transition="in" filter="fade">
                                      <p:cBhvr>
                                        <p:cTn id="194" dur="500"/>
                                        <p:tgtEl>
                                          <p:spTgt spid="73"/>
                                        </p:tgtEl>
                                      </p:cBhvr>
                                    </p:animEffect>
                                  </p:childTnLst>
                                </p:cTn>
                              </p:par>
                            </p:childTnLst>
                          </p:cTn>
                        </p:par>
                      </p:childTnLst>
                    </p:cTn>
                  </p:par>
                  <p:par>
                    <p:cTn id="195" fill="hold">
                      <p:stCondLst>
                        <p:cond delay="indefinite"/>
                      </p:stCondLst>
                      <p:childTnLst>
                        <p:par>
                          <p:cTn id="196" fill="hold">
                            <p:stCondLst>
                              <p:cond delay="0"/>
                            </p:stCondLst>
                            <p:childTnLst>
                              <p:par>
                                <p:cTn id="197" presetID="42" presetClass="path" presetSubtype="0" accel="50000" decel="50000" fill="hold" nodeType="clickEffect">
                                  <p:stCondLst>
                                    <p:cond delay="0"/>
                                  </p:stCondLst>
                                  <p:childTnLst>
                                    <p:animMotion origin="layout" path="M -2.5E-6 -4.81481E-6 L -0.29466 7.40741E-7 " pathEditMode="relative" rAng="0" ptsTypes="AA">
                                      <p:cBhvr>
                                        <p:cTn id="198" dur="2000" fill="hold"/>
                                        <p:tgtEl>
                                          <p:spTgt spid="2"/>
                                        </p:tgtEl>
                                        <p:attrNameLst>
                                          <p:attrName>ppt_x</p:attrName>
                                          <p:attrName>ppt_y</p:attrName>
                                        </p:attrNameLst>
                                      </p:cBhvr>
                                      <p:rCtr x="-14557" y="23"/>
                                    </p:animMotion>
                                  </p:childTnLst>
                                </p:cTn>
                              </p:par>
                            </p:childTnLst>
                          </p:cTn>
                        </p:par>
                      </p:childTnLst>
                    </p:cTn>
                  </p:par>
                  <p:par>
                    <p:cTn id="199" fill="hold">
                      <p:stCondLst>
                        <p:cond delay="indefinite"/>
                      </p:stCondLst>
                      <p:childTnLst>
                        <p:par>
                          <p:cTn id="200" fill="hold">
                            <p:stCondLst>
                              <p:cond delay="0"/>
                            </p:stCondLst>
                            <p:childTnLst>
                              <p:par>
                                <p:cTn id="201" presetID="10" presetClass="exit" presetSubtype="0" fill="hold" nodeType="clickEffect">
                                  <p:stCondLst>
                                    <p:cond delay="0"/>
                                  </p:stCondLst>
                                  <p:childTnLst>
                                    <p:animEffect transition="out" filter="fade">
                                      <p:cBhvr>
                                        <p:cTn id="202" dur="500"/>
                                        <p:tgtEl>
                                          <p:spTgt spid="2"/>
                                        </p:tgtEl>
                                      </p:cBhvr>
                                    </p:animEffect>
                                    <p:set>
                                      <p:cBhvr>
                                        <p:cTn id="203" dur="1" fill="hold">
                                          <p:stCondLst>
                                            <p:cond delay="499"/>
                                          </p:stCondLst>
                                        </p:cTn>
                                        <p:tgtEl>
                                          <p:spTgt spid="2"/>
                                        </p:tgtEl>
                                        <p:attrNameLst>
                                          <p:attrName>style.visibility</p:attrName>
                                        </p:attrNameLst>
                                      </p:cBhvr>
                                      <p:to>
                                        <p:strVal val="hidden"/>
                                      </p:to>
                                    </p:set>
                                  </p:childTnLst>
                                </p:cTn>
                              </p:par>
                            </p:childTnLst>
                          </p:cTn>
                        </p:par>
                        <p:par>
                          <p:cTn id="204" fill="hold">
                            <p:stCondLst>
                              <p:cond delay="500"/>
                            </p:stCondLst>
                            <p:childTnLst>
                              <p:par>
                                <p:cTn id="205" presetID="10" presetClass="entr" presetSubtype="0" fill="hold" grpId="0" nodeType="afterEffect">
                                  <p:stCondLst>
                                    <p:cond delay="0"/>
                                  </p:stCondLst>
                                  <p:childTnLst>
                                    <p:set>
                                      <p:cBhvr>
                                        <p:cTn id="206" dur="1" fill="hold">
                                          <p:stCondLst>
                                            <p:cond delay="0"/>
                                          </p:stCondLst>
                                        </p:cTn>
                                        <p:tgtEl>
                                          <p:spTgt spid="48"/>
                                        </p:tgtEl>
                                        <p:attrNameLst>
                                          <p:attrName>style.visibility</p:attrName>
                                        </p:attrNameLst>
                                      </p:cBhvr>
                                      <p:to>
                                        <p:strVal val="visible"/>
                                      </p:to>
                                    </p:set>
                                    <p:animEffect transition="in" filter="fade">
                                      <p:cBhvr>
                                        <p:cTn id="207" dur="500"/>
                                        <p:tgtEl>
                                          <p:spTgt spid="48"/>
                                        </p:tgtEl>
                                      </p:cBhvr>
                                    </p:animEffect>
                                  </p:childTnLst>
                                </p:cTn>
                              </p:par>
                              <p:par>
                                <p:cTn id="208" presetID="10" presetClass="entr" presetSubtype="0" fill="hold" grpId="0" nodeType="withEffect">
                                  <p:stCondLst>
                                    <p:cond delay="0"/>
                                  </p:stCondLst>
                                  <p:childTnLst>
                                    <p:set>
                                      <p:cBhvr>
                                        <p:cTn id="209" dur="1" fill="hold">
                                          <p:stCondLst>
                                            <p:cond delay="0"/>
                                          </p:stCondLst>
                                        </p:cTn>
                                        <p:tgtEl>
                                          <p:spTgt spid="10269"/>
                                        </p:tgtEl>
                                        <p:attrNameLst>
                                          <p:attrName>style.visibility</p:attrName>
                                        </p:attrNameLst>
                                      </p:cBhvr>
                                      <p:to>
                                        <p:strVal val="visible"/>
                                      </p:to>
                                    </p:set>
                                    <p:animEffect transition="in" filter="fade">
                                      <p:cBhvr>
                                        <p:cTn id="210" dur="500"/>
                                        <p:tgtEl>
                                          <p:spTgt spid="10269"/>
                                        </p:tgtEl>
                                      </p:cBhvr>
                                    </p:animEffect>
                                  </p:childTnLst>
                                </p:cTn>
                              </p:par>
                            </p:childTnLst>
                          </p:cTn>
                        </p:par>
                      </p:childTnLst>
                    </p:cTn>
                  </p:par>
                  <p:par>
                    <p:cTn id="211" fill="hold">
                      <p:stCondLst>
                        <p:cond delay="indefinite"/>
                      </p:stCondLst>
                      <p:childTnLst>
                        <p:par>
                          <p:cTn id="212" fill="hold">
                            <p:stCondLst>
                              <p:cond delay="0"/>
                            </p:stCondLst>
                            <p:childTnLst>
                              <p:par>
                                <p:cTn id="213" presetID="42" presetClass="path" presetSubtype="0" accel="50000" decel="50000" fill="hold" nodeType="clickEffect">
                                  <p:stCondLst>
                                    <p:cond delay="0"/>
                                  </p:stCondLst>
                                  <p:childTnLst>
                                    <p:animMotion origin="layout" path="M -0.00378 0.00046 L -0.00378 -0.13009 " pathEditMode="relative" rAng="0" ptsTypes="AA">
                                      <p:cBhvr>
                                        <p:cTn id="214" dur="2000" fill="hold"/>
                                        <p:tgtEl>
                                          <p:spTgt spid="48"/>
                                        </p:tgtEl>
                                        <p:attrNameLst>
                                          <p:attrName>ppt_x</p:attrName>
                                          <p:attrName>ppt_y</p:attrName>
                                        </p:attrNameLst>
                                      </p:cBhvr>
                                      <p:rCtr x="0" y="-6528"/>
                                    </p:animMotion>
                                  </p:childTnLst>
                                </p:cTn>
                              </p:par>
                            </p:childTnLst>
                          </p:cTn>
                        </p:par>
                      </p:childTnLst>
                    </p:cTn>
                  </p:par>
                  <p:par>
                    <p:cTn id="215" fill="hold">
                      <p:stCondLst>
                        <p:cond delay="indefinite"/>
                      </p:stCondLst>
                      <p:childTnLst>
                        <p:par>
                          <p:cTn id="216" fill="hold">
                            <p:stCondLst>
                              <p:cond delay="0"/>
                            </p:stCondLst>
                            <p:childTnLst>
                              <p:par>
                                <p:cTn id="217" presetID="1" presetClass="entr" presetSubtype="0" fill="hold" grpId="1" nodeType="clickEffect">
                                  <p:stCondLst>
                                    <p:cond delay="0"/>
                                  </p:stCondLst>
                                  <p:childTnLst>
                                    <p:set>
                                      <p:cBhvr>
                                        <p:cTn id="218" dur="1" fill="hold">
                                          <p:stCondLst>
                                            <p:cond delay="0"/>
                                          </p:stCondLst>
                                        </p:cTn>
                                        <p:tgtEl>
                                          <p:spTgt spid="49"/>
                                        </p:tgtEl>
                                        <p:attrNameLst>
                                          <p:attrName>style.visibility</p:attrName>
                                        </p:attrNameLst>
                                      </p:cBhvr>
                                      <p:to>
                                        <p:strVal val="visible"/>
                                      </p:to>
                                    </p:set>
                                  </p:childTnLst>
                                </p:cTn>
                              </p:par>
                            </p:childTnLst>
                          </p:cTn>
                        </p:par>
                      </p:childTnLst>
                    </p:cTn>
                  </p:par>
                  <p:par>
                    <p:cTn id="219" fill="hold">
                      <p:stCondLst>
                        <p:cond delay="indefinite"/>
                      </p:stCondLst>
                      <p:childTnLst>
                        <p:par>
                          <p:cTn id="220" fill="hold">
                            <p:stCondLst>
                              <p:cond delay="0"/>
                            </p:stCondLst>
                            <p:childTnLst>
                              <p:par>
                                <p:cTn id="221" presetID="42" presetClass="path" presetSubtype="0" accel="50000" decel="50000" fill="hold" grpId="0" nodeType="clickEffect">
                                  <p:stCondLst>
                                    <p:cond delay="0"/>
                                  </p:stCondLst>
                                  <p:childTnLst>
                                    <p:animMotion origin="layout" path="M 0.00091 -0.00301 L 0.00091 0.0831 " pathEditMode="relative" rAng="0" ptsTypes="AA">
                                      <p:cBhvr>
                                        <p:cTn id="222" dur="2000" fill="hold"/>
                                        <p:tgtEl>
                                          <p:spTgt spid="49"/>
                                        </p:tgtEl>
                                        <p:attrNameLst>
                                          <p:attrName>ppt_x</p:attrName>
                                          <p:attrName>ppt_y</p:attrName>
                                        </p:attrNameLst>
                                      </p:cBhvr>
                                      <p:rCtr x="0" y="4306"/>
                                    </p:animMotion>
                                  </p:childTnLst>
                                </p:cTn>
                              </p:par>
                            </p:childTnLst>
                          </p:cTn>
                        </p:par>
                      </p:childTnLst>
                    </p:cTn>
                  </p:par>
                  <p:par>
                    <p:cTn id="223" fill="hold">
                      <p:stCondLst>
                        <p:cond delay="indefinite"/>
                      </p:stCondLst>
                      <p:childTnLst>
                        <p:par>
                          <p:cTn id="224" fill="hold">
                            <p:stCondLst>
                              <p:cond delay="0"/>
                            </p:stCondLst>
                            <p:childTnLst>
                              <p:par>
                                <p:cTn id="225" presetID="42" presetClass="path" presetSubtype="0" accel="50000" decel="50000" fill="hold" nodeType="clickEffect">
                                  <p:stCondLst>
                                    <p:cond delay="0"/>
                                  </p:stCondLst>
                                  <p:childTnLst>
                                    <p:animMotion origin="layout" path="M 0.00091 -0.13009 L 0.00091 -0.00231 " pathEditMode="relative" rAng="0" ptsTypes="AA">
                                      <p:cBhvr>
                                        <p:cTn id="226" dur="2000" fill="hold"/>
                                        <p:tgtEl>
                                          <p:spTgt spid="48"/>
                                        </p:tgtEl>
                                        <p:attrNameLst>
                                          <p:attrName>ppt_x</p:attrName>
                                          <p:attrName>ppt_y</p:attrName>
                                        </p:attrNameLst>
                                      </p:cBhvr>
                                      <p:rCtr x="0" y="6389"/>
                                    </p:animMotion>
                                  </p:childTnLst>
                                </p:cTn>
                              </p:par>
                            </p:childTnLst>
                          </p:cTn>
                        </p:par>
                      </p:childTnLst>
                    </p:cTn>
                  </p:par>
                  <p:par>
                    <p:cTn id="227" fill="hold">
                      <p:stCondLst>
                        <p:cond delay="indefinite"/>
                      </p:stCondLst>
                      <p:childTnLst>
                        <p:par>
                          <p:cTn id="228" fill="hold">
                            <p:stCondLst>
                              <p:cond delay="0"/>
                            </p:stCondLst>
                            <p:childTnLst>
                              <p:par>
                                <p:cTn id="229" presetID="10" presetClass="entr" presetSubtype="0" fill="hold" grpId="0" nodeType="clickEffect">
                                  <p:stCondLst>
                                    <p:cond delay="0"/>
                                  </p:stCondLst>
                                  <p:childTnLst>
                                    <p:set>
                                      <p:cBhvr>
                                        <p:cTn id="230" dur="1" fill="hold">
                                          <p:stCondLst>
                                            <p:cond delay="0"/>
                                          </p:stCondLst>
                                        </p:cTn>
                                        <p:tgtEl>
                                          <p:spTgt spid="68"/>
                                        </p:tgtEl>
                                        <p:attrNameLst>
                                          <p:attrName>style.visibility</p:attrName>
                                        </p:attrNameLst>
                                      </p:cBhvr>
                                      <p:to>
                                        <p:strVal val="visible"/>
                                      </p:to>
                                    </p:set>
                                    <p:animEffect transition="in" filter="fade">
                                      <p:cBhvr>
                                        <p:cTn id="231" dur="500"/>
                                        <p:tgtEl>
                                          <p:spTgt spid="68"/>
                                        </p:tgtEl>
                                      </p:cBhvr>
                                    </p:animEffect>
                                  </p:childTnLst>
                                </p:cTn>
                              </p:par>
                            </p:childTnLst>
                          </p:cTn>
                        </p:par>
                      </p:childTnLst>
                    </p:cTn>
                  </p:par>
                  <p:par>
                    <p:cTn id="232" fill="hold">
                      <p:stCondLst>
                        <p:cond delay="indefinite"/>
                      </p:stCondLst>
                      <p:childTnLst>
                        <p:par>
                          <p:cTn id="233" fill="hold">
                            <p:stCondLst>
                              <p:cond delay="0"/>
                            </p:stCondLst>
                            <p:childTnLst>
                              <p:par>
                                <p:cTn id="234" presetID="47" presetClass="entr" presetSubtype="0" fill="hold" grpId="0" nodeType="clickEffect">
                                  <p:stCondLst>
                                    <p:cond delay="0"/>
                                  </p:stCondLst>
                                  <p:childTnLst>
                                    <p:set>
                                      <p:cBhvr>
                                        <p:cTn id="235" dur="1" fill="hold">
                                          <p:stCondLst>
                                            <p:cond delay="0"/>
                                          </p:stCondLst>
                                        </p:cTn>
                                        <p:tgtEl>
                                          <p:spTgt spid="9"/>
                                        </p:tgtEl>
                                        <p:attrNameLst>
                                          <p:attrName>style.visibility</p:attrName>
                                        </p:attrNameLst>
                                      </p:cBhvr>
                                      <p:to>
                                        <p:strVal val="visible"/>
                                      </p:to>
                                    </p:set>
                                    <p:animEffect transition="in" filter="fade">
                                      <p:cBhvr>
                                        <p:cTn id="236" dur="2000"/>
                                        <p:tgtEl>
                                          <p:spTgt spid="9"/>
                                        </p:tgtEl>
                                      </p:cBhvr>
                                    </p:animEffect>
                                    <p:anim calcmode="lin" valueType="num">
                                      <p:cBhvr>
                                        <p:cTn id="237" dur="2000" fill="hold"/>
                                        <p:tgtEl>
                                          <p:spTgt spid="9"/>
                                        </p:tgtEl>
                                        <p:attrNameLst>
                                          <p:attrName>ppt_x</p:attrName>
                                        </p:attrNameLst>
                                      </p:cBhvr>
                                      <p:tavLst>
                                        <p:tav tm="0">
                                          <p:val>
                                            <p:strVal val="#ppt_x"/>
                                          </p:val>
                                        </p:tav>
                                        <p:tav tm="100000">
                                          <p:val>
                                            <p:strVal val="#ppt_x"/>
                                          </p:val>
                                        </p:tav>
                                      </p:tavLst>
                                    </p:anim>
                                    <p:anim calcmode="lin" valueType="num">
                                      <p:cBhvr>
                                        <p:cTn id="238" dur="2000" fill="hold"/>
                                        <p:tgtEl>
                                          <p:spTgt spid="9"/>
                                        </p:tgtEl>
                                        <p:attrNameLst>
                                          <p:attrName>ppt_y</p:attrName>
                                        </p:attrNameLst>
                                      </p:cBhvr>
                                      <p:tavLst>
                                        <p:tav tm="0">
                                          <p:val>
                                            <p:strVal val="#ppt_y-.1"/>
                                          </p:val>
                                        </p:tav>
                                        <p:tav tm="100000">
                                          <p:val>
                                            <p:strVal val="#ppt_y"/>
                                          </p:val>
                                        </p:tav>
                                      </p:tavLst>
                                    </p:anim>
                                  </p:childTnLst>
                                </p:cTn>
                              </p:par>
                              <p:par>
                                <p:cTn id="239" presetID="47" presetClass="entr" presetSubtype="0" fill="hold" grpId="0" nodeType="withEffect">
                                  <p:stCondLst>
                                    <p:cond delay="0"/>
                                  </p:stCondLst>
                                  <p:childTnLst>
                                    <p:set>
                                      <p:cBhvr>
                                        <p:cTn id="240" dur="1" fill="hold">
                                          <p:stCondLst>
                                            <p:cond delay="0"/>
                                          </p:stCondLst>
                                        </p:cTn>
                                        <p:tgtEl>
                                          <p:spTgt spid="57"/>
                                        </p:tgtEl>
                                        <p:attrNameLst>
                                          <p:attrName>style.visibility</p:attrName>
                                        </p:attrNameLst>
                                      </p:cBhvr>
                                      <p:to>
                                        <p:strVal val="visible"/>
                                      </p:to>
                                    </p:set>
                                    <p:animEffect transition="in" filter="fade">
                                      <p:cBhvr>
                                        <p:cTn id="241" dur="2000"/>
                                        <p:tgtEl>
                                          <p:spTgt spid="57"/>
                                        </p:tgtEl>
                                      </p:cBhvr>
                                    </p:animEffect>
                                    <p:anim calcmode="lin" valueType="num">
                                      <p:cBhvr>
                                        <p:cTn id="242" dur="2000" fill="hold"/>
                                        <p:tgtEl>
                                          <p:spTgt spid="57"/>
                                        </p:tgtEl>
                                        <p:attrNameLst>
                                          <p:attrName>ppt_x</p:attrName>
                                        </p:attrNameLst>
                                      </p:cBhvr>
                                      <p:tavLst>
                                        <p:tav tm="0">
                                          <p:val>
                                            <p:strVal val="#ppt_x"/>
                                          </p:val>
                                        </p:tav>
                                        <p:tav tm="100000">
                                          <p:val>
                                            <p:strVal val="#ppt_x"/>
                                          </p:val>
                                        </p:tav>
                                      </p:tavLst>
                                    </p:anim>
                                    <p:anim calcmode="lin" valueType="num">
                                      <p:cBhvr>
                                        <p:cTn id="243" dur="2000" fill="hold"/>
                                        <p:tgtEl>
                                          <p:spTgt spid="57"/>
                                        </p:tgtEl>
                                        <p:attrNameLst>
                                          <p:attrName>ppt_y</p:attrName>
                                        </p:attrNameLst>
                                      </p:cBhvr>
                                      <p:tavLst>
                                        <p:tav tm="0">
                                          <p:val>
                                            <p:strVal val="#ppt_y-.1"/>
                                          </p:val>
                                        </p:tav>
                                        <p:tav tm="100000">
                                          <p:val>
                                            <p:strVal val="#ppt_y"/>
                                          </p:val>
                                        </p:tav>
                                      </p:tavLst>
                                    </p:anim>
                                  </p:childTnLst>
                                </p:cTn>
                              </p:par>
                            </p:childTnLst>
                          </p:cTn>
                        </p:par>
                      </p:childTnLst>
                    </p:cTn>
                  </p:par>
                  <p:par>
                    <p:cTn id="244" fill="hold">
                      <p:stCondLst>
                        <p:cond delay="indefinite"/>
                      </p:stCondLst>
                      <p:childTnLst>
                        <p:par>
                          <p:cTn id="245" fill="hold">
                            <p:stCondLst>
                              <p:cond delay="0"/>
                            </p:stCondLst>
                            <p:childTnLst>
                              <p:par>
                                <p:cTn id="246" presetID="20" presetClass="entr" presetSubtype="0" fill="hold" nodeType="clickEffect">
                                  <p:stCondLst>
                                    <p:cond delay="0"/>
                                  </p:stCondLst>
                                  <p:childTnLst>
                                    <p:set>
                                      <p:cBhvr>
                                        <p:cTn id="247" dur="1" fill="hold">
                                          <p:stCondLst>
                                            <p:cond delay="0"/>
                                          </p:stCondLst>
                                        </p:cTn>
                                        <p:tgtEl>
                                          <p:spTgt spid="19"/>
                                        </p:tgtEl>
                                        <p:attrNameLst>
                                          <p:attrName>style.visibility</p:attrName>
                                        </p:attrNameLst>
                                      </p:cBhvr>
                                      <p:to>
                                        <p:strVal val="visible"/>
                                      </p:to>
                                    </p:set>
                                    <p:animEffect transition="in" filter="wedge">
                                      <p:cBhvr>
                                        <p:cTn id="248" dur="2000"/>
                                        <p:tgtEl>
                                          <p:spTgt spid="19"/>
                                        </p:tgtEl>
                                      </p:cBhvr>
                                    </p:animEffect>
                                  </p:childTnLst>
                                </p:cTn>
                              </p:par>
                            </p:childTnLst>
                          </p:cTn>
                        </p:par>
                        <p:par>
                          <p:cTn id="249" fill="hold">
                            <p:stCondLst>
                              <p:cond delay="2000"/>
                            </p:stCondLst>
                            <p:childTnLst>
                              <p:par>
                                <p:cTn id="250" presetID="9" presetClass="emph" presetSubtype="0" nodeType="afterEffect">
                                  <p:stCondLst>
                                    <p:cond delay="0"/>
                                  </p:stCondLst>
                                  <p:childTnLst>
                                    <p:set>
                                      <p:cBhvr rctx="PPT">
                                        <p:cTn id="251" dur="3000"/>
                                        <p:tgtEl>
                                          <p:spTgt spid="9"/>
                                        </p:tgtEl>
                                        <p:attrNameLst>
                                          <p:attrName>style.opacity</p:attrName>
                                        </p:attrNameLst>
                                      </p:cBhvr>
                                      <p:to>
                                        <p:strVal val="0.5"/>
                                      </p:to>
                                    </p:set>
                                    <p:animEffect filter="image" prLst="opacity: 0.5">
                                      <p:cBhvr rctx="IE">
                                        <p:cTn id="252" dur="3000"/>
                                        <p:tgtEl>
                                          <p:spTgt spid="9"/>
                                        </p:tgtEl>
                                      </p:cBhvr>
                                    </p:animEffect>
                                  </p:childTnLst>
                                </p:cTn>
                              </p:par>
                            </p:childTnLst>
                          </p:cTn>
                        </p:par>
                      </p:childTnLst>
                    </p:cTn>
                  </p:par>
                  <p:par>
                    <p:cTn id="253" fill="hold">
                      <p:stCondLst>
                        <p:cond delay="indefinite"/>
                      </p:stCondLst>
                      <p:childTnLst>
                        <p:par>
                          <p:cTn id="254" fill="hold">
                            <p:stCondLst>
                              <p:cond delay="0"/>
                            </p:stCondLst>
                            <p:childTnLst>
                              <p:par>
                                <p:cTn id="255" presetID="10" presetClass="entr" presetSubtype="0" fill="hold" grpId="0" nodeType="clickEffect">
                                  <p:stCondLst>
                                    <p:cond delay="0"/>
                                  </p:stCondLst>
                                  <p:childTnLst>
                                    <p:set>
                                      <p:cBhvr>
                                        <p:cTn id="256" dur="1" fill="hold">
                                          <p:stCondLst>
                                            <p:cond delay="0"/>
                                          </p:stCondLst>
                                        </p:cTn>
                                        <p:tgtEl>
                                          <p:spTgt spid="62"/>
                                        </p:tgtEl>
                                        <p:attrNameLst>
                                          <p:attrName>style.visibility</p:attrName>
                                        </p:attrNameLst>
                                      </p:cBhvr>
                                      <p:to>
                                        <p:strVal val="visible"/>
                                      </p:to>
                                    </p:set>
                                    <p:animEffect transition="in" filter="fade">
                                      <p:cBhvr>
                                        <p:cTn id="257" dur="500"/>
                                        <p:tgtEl>
                                          <p:spTgt spid="62"/>
                                        </p:tgtEl>
                                      </p:cBhvr>
                                    </p:animEffect>
                                  </p:childTnLst>
                                </p:cTn>
                              </p:par>
                            </p:childTnLst>
                          </p:cTn>
                        </p:par>
                      </p:childTnLst>
                    </p:cTn>
                  </p:par>
                  <p:par>
                    <p:cTn id="258" fill="hold">
                      <p:stCondLst>
                        <p:cond delay="indefinite"/>
                      </p:stCondLst>
                      <p:childTnLst>
                        <p:par>
                          <p:cTn id="259" fill="hold">
                            <p:stCondLst>
                              <p:cond delay="0"/>
                            </p:stCondLst>
                            <p:childTnLst>
                              <p:par>
                                <p:cTn id="260" presetID="1" presetClass="entr" presetSubtype="0" fill="hold" nodeType="clickEffect">
                                  <p:stCondLst>
                                    <p:cond delay="0"/>
                                  </p:stCondLst>
                                  <p:childTnLst>
                                    <p:set>
                                      <p:cBhvr>
                                        <p:cTn id="261" dur="1" fill="hold">
                                          <p:stCondLst>
                                            <p:cond delay="0"/>
                                          </p:stCondLst>
                                        </p:cTn>
                                        <p:tgtEl>
                                          <p:spTgt spid="10"/>
                                        </p:tgtEl>
                                        <p:attrNameLst>
                                          <p:attrName>style.visibility</p:attrName>
                                        </p:attrNameLst>
                                      </p:cBhvr>
                                      <p:to>
                                        <p:strVal val="visible"/>
                                      </p:to>
                                    </p:set>
                                  </p:childTnLst>
                                </p:cTn>
                              </p:par>
                            </p:childTnLst>
                          </p:cTn>
                        </p:par>
                      </p:childTnLst>
                    </p:cTn>
                  </p:par>
                  <p:par>
                    <p:cTn id="262" fill="hold">
                      <p:stCondLst>
                        <p:cond delay="indefinite"/>
                      </p:stCondLst>
                      <p:childTnLst>
                        <p:par>
                          <p:cTn id="263" fill="hold">
                            <p:stCondLst>
                              <p:cond delay="0"/>
                            </p:stCondLst>
                            <p:childTnLst>
                              <p:par>
                                <p:cTn id="264" presetID="1" presetClass="exit" presetSubtype="0" fill="hold" grpId="1" nodeType="clickEffect">
                                  <p:stCondLst>
                                    <p:cond delay="0"/>
                                  </p:stCondLst>
                                  <p:childTnLst>
                                    <p:set>
                                      <p:cBhvr>
                                        <p:cTn id="265" dur="1" fill="hold">
                                          <p:stCondLst>
                                            <p:cond delay="0"/>
                                          </p:stCondLst>
                                        </p:cTn>
                                        <p:tgtEl>
                                          <p:spTgt spid="9"/>
                                        </p:tgtEl>
                                        <p:attrNameLst>
                                          <p:attrName>style.visibility</p:attrName>
                                        </p:attrNameLst>
                                      </p:cBhvr>
                                      <p:to>
                                        <p:strVal val="hidden"/>
                                      </p:to>
                                    </p:set>
                                  </p:childTnLst>
                                </p:cTn>
                              </p:par>
                            </p:childTnLst>
                          </p:cTn>
                        </p:par>
                      </p:childTnLst>
                    </p:cTn>
                  </p:par>
                  <p:par>
                    <p:cTn id="266" fill="hold">
                      <p:stCondLst>
                        <p:cond delay="indefinite"/>
                      </p:stCondLst>
                      <p:childTnLst>
                        <p:par>
                          <p:cTn id="267" fill="hold">
                            <p:stCondLst>
                              <p:cond delay="0"/>
                            </p:stCondLst>
                            <p:childTnLst>
                              <p:par>
                                <p:cTn id="268" presetID="42" presetClass="path" presetSubtype="0" accel="50000" decel="50000" fill="hold" grpId="1" nodeType="clickEffect">
                                  <p:stCondLst>
                                    <p:cond delay="0"/>
                                  </p:stCondLst>
                                  <p:childTnLst>
                                    <p:animMotion origin="layout" path="M 6.25E-7 -1.85185E-6 L 0.30716 -0.00069 " pathEditMode="relative" rAng="0" ptsTypes="AA">
                                      <p:cBhvr>
                                        <p:cTn id="269" dur="2000" fill="hold"/>
                                        <p:tgtEl>
                                          <p:spTgt spid="57"/>
                                        </p:tgtEl>
                                        <p:attrNameLst>
                                          <p:attrName>ppt_x</p:attrName>
                                          <p:attrName>ppt_y</p:attrName>
                                        </p:attrNameLst>
                                      </p:cBhvr>
                                      <p:rCtr x="15352" y="-46"/>
                                    </p:animMotion>
                                  </p:childTnLst>
                                </p:cTn>
                              </p:par>
                            </p:childTnLst>
                          </p:cTn>
                        </p:par>
                        <p:par>
                          <p:cTn id="270" fill="hold">
                            <p:stCondLst>
                              <p:cond delay="2000"/>
                            </p:stCondLst>
                            <p:childTnLst>
                              <p:par>
                                <p:cTn id="271" presetID="9" presetClass="emph" presetSubtype="0" nodeType="afterEffect">
                                  <p:stCondLst>
                                    <p:cond delay="0"/>
                                  </p:stCondLst>
                                  <p:childTnLst>
                                    <p:set>
                                      <p:cBhvr rctx="PPT">
                                        <p:cTn id="272" dur="3000"/>
                                        <p:tgtEl>
                                          <p:spTgt spid="57"/>
                                        </p:tgtEl>
                                        <p:attrNameLst>
                                          <p:attrName>style.opacity</p:attrName>
                                        </p:attrNameLst>
                                      </p:cBhvr>
                                      <p:to>
                                        <p:strVal val="0.5"/>
                                      </p:to>
                                    </p:set>
                                    <p:animEffect filter="image" prLst="opacity: 0.5">
                                      <p:cBhvr rctx="IE">
                                        <p:cTn id="273" dur="3000"/>
                                        <p:tgtEl>
                                          <p:spTgt spid="57"/>
                                        </p:tgtEl>
                                      </p:cBhvr>
                                    </p:animEffect>
                                  </p:childTnLst>
                                </p:cTn>
                              </p:par>
                            </p:childTnLst>
                          </p:cTn>
                        </p:par>
                      </p:childTnLst>
                    </p:cTn>
                  </p:par>
                  <p:par>
                    <p:cTn id="274" fill="hold">
                      <p:stCondLst>
                        <p:cond delay="indefinite"/>
                      </p:stCondLst>
                      <p:childTnLst>
                        <p:par>
                          <p:cTn id="275" fill="hold">
                            <p:stCondLst>
                              <p:cond delay="0"/>
                            </p:stCondLst>
                            <p:childTnLst>
                              <p:par>
                                <p:cTn id="276" presetID="10" presetClass="entr" presetSubtype="0" fill="hold" grpId="0" nodeType="clickEffect">
                                  <p:stCondLst>
                                    <p:cond delay="0"/>
                                  </p:stCondLst>
                                  <p:childTnLst>
                                    <p:set>
                                      <p:cBhvr>
                                        <p:cTn id="277" dur="1" fill="hold">
                                          <p:stCondLst>
                                            <p:cond delay="0"/>
                                          </p:stCondLst>
                                        </p:cTn>
                                        <p:tgtEl>
                                          <p:spTgt spid="69"/>
                                        </p:tgtEl>
                                        <p:attrNameLst>
                                          <p:attrName>style.visibility</p:attrName>
                                        </p:attrNameLst>
                                      </p:cBhvr>
                                      <p:to>
                                        <p:strVal val="visible"/>
                                      </p:to>
                                    </p:set>
                                    <p:animEffect transition="in" filter="fade">
                                      <p:cBhvr>
                                        <p:cTn id="278" dur="500"/>
                                        <p:tgtEl>
                                          <p:spTgt spid="69"/>
                                        </p:tgtEl>
                                      </p:cBhvr>
                                    </p:animEffect>
                                  </p:childTnLst>
                                </p:cTn>
                              </p:par>
                            </p:childTnLst>
                          </p:cTn>
                        </p:par>
                      </p:childTnLst>
                    </p:cTn>
                  </p:par>
                  <p:par>
                    <p:cTn id="279" fill="hold">
                      <p:stCondLst>
                        <p:cond delay="indefinite"/>
                      </p:stCondLst>
                      <p:childTnLst>
                        <p:par>
                          <p:cTn id="280" fill="hold">
                            <p:stCondLst>
                              <p:cond delay="0"/>
                            </p:stCondLst>
                            <p:childTnLst>
                              <p:par>
                                <p:cTn id="281" presetID="42" presetClass="path" presetSubtype="0" accel="50000" decel="50000" fill="hold" grpId="2" nodeType="clickEffect">
                                  <p:stCondLst>
                                    <p:cond delay="0"/>
                                  </p:stCondLst>
                                  <p:childTnLst>
                                    <p:animMotion origin="layout" path="M 0.30716 -0.00069 L 0.61719 0.0007 " pathEditMode="relative" rAng="0" ptsTypes="AA">
                                      <p:cBhvr>
                                        <p:cTn id="282" dur="2000" fill="hold"/>
                                        <p:tgtEl>
                                          <p:spTgt spid="57"/>
                                        </p:tgtEl>
                                        <p:attrNameLst>
                                          <p:attrName>ppt_x</p:attrName>
                                          <p:attrName>ppt_y</p:attrName>
                                        </p:attrNameLst>
                                      </p:cBhvr>
                                      <p:rCtr x="15495" y="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66" grpId="0" animBg="1"/>
      <p:bldP spid="66" grpId="1" animBg="1"/>
      <p:bldP spid="66" grpId="2" animBg="1"/>
      <p:bldP spid="7207" grpId="0" animBg="1"/>
      <p:bldP spid="7207" grpId="1" animBg="1"/>
      <p:bldP spid="3" grpId="0" animBg="1"/>
      <p:bldP spid="3" grpId="1" animBg="1"/>
      <p:bldP spid="3" grpId="2" animBg="1"/>
      <p:bldP spid="3" grpId="3" animBg="1"/>
      <p:bldP spid="8" grpId="0" animBg="1"/>
      <p:bldP spid="8" grpId="1" animBg="1"/>
      <p:bldP spid="13" grpId="0" animBg="1"/>
      <p:bldP spid="13" grpId="1" animBg="1"/>
      <p:bldP spid="29" grpId="0" animBg="1"/>
      <p:bldP spid="29" grpId="1" animBg="1"/>
      <p:bldP spid="31" grpId="0" animBg="1"/>
      <p:bldP spid="31" grpId="1" animBg="1"/>
      <p:bldP spid="34" grpId="0" animBg="1"/>
      <p:bldP spid="34" grpId="1" animBg="1"/>
      <p:bldP spid="36" grpId="0" animBg="1"/>
      <p:bldP spid="36" grpId="1" animBg="1"/>
      <p:bldP spid="38" grpId="0" animBg="1"/>
      <p:bldP spid="38" grpId="1" animBg="1"/>
      <p:bldP spid="7197" grpId="0" animBg="1"/>
      <p:bldP spid="7198" grpId="0" animBg="1"/>
      <p:bldP spid="7199" grpId="0" animBg="1"/>
      <p:bldP spid="7200" grpId="0" animBg="1"/>
      <p:bldP spid="7201" grpId="0" animBg="1"/>
      <p:bldP spid="7202" grpId="0" animBg="1"/>
      <p:bldP spid="7203" grpId="0" animBg="1"/>
      <p:bldP spid="7204" grpId="0" animBg="1"/>
      <p:bldP spid="5" grpId="0" animBg="1"/>
      <p:bldP spid="7210" grpId="0" animBg="1"/>
      <p:bldP spid="7210" grpId="1" animBg="1"/>
      <p:bldP spid="10269" grpId="0" animBg="1"/>
      <p:bldP spid="48" grpId="0" animBg="1"/>
      <p:bldP spid="49" grpId="0" animBg="1"/>
      <p:bldP spid="49" grpId="1" animBg="1"/>
      <p:bldP spid="9" grpId="0" animBg="1"/>
      <p:bldP spid="9" grpId="1" animBg="1"/>
      <p:bldP spid="26" grpId="0" animBg="1"/>
      <p:bldP spid="26" grpId="1" animBg="1"/>
      <p:bldP spid="26" grpId="2" animBg="1"/>
      <p:bldP spid="4" grpId="0" animBg="1"/>
      <p:bldP spid="4" grpId="1" animBg="1"/>
      <p:bldP spid="57" grpId="0" animBg="1"/>
      <p:bldP spid="57" grpId="1" animBg="1"/>
      <p:bldP spid="57" grpId="2" animBg="1"/>
      <p:bldP spid="58" grpId="0" animBg="1"/>
      <p:bldP spid="59" grpId="0" animBg="1"/>
      <p:bldP spid="60" grpId="0" animBg="1"/>
      <p:bldP spid="62" grpId="0" animBg="1"/>
      <p:bldP spid="68" grpId="0" animBg="1"/>
      <p:bldP spid="69" grpId="0" animBg="1"/>
      <p:bldP spid="70" grpId="0" animBg="1"/>
      <p:bldP spid="7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ltLang="en-US" dirty="0" smtClean="0"/>
              <a:t>Coloured Glass</a:t>
            </a:r>
            <a:endParaRPr lang="en-IN" dirty="0"/>
          </a:p>
        </p:txBody>
      </p:sp>
      <p:sp>
        <p:nvSpPr>
          <p:cNvPr id="5" name="Slide Number Placeholder 4"/>
          <p:cNvSpPr>
            <a:spLocks noGrp="1"/>
          </p:cNvSpPr>
          <p:nvPr>
            <p:ph type="sldNum" sz="quarter" idx="12"/>
          </p:nvPr>
        </p:nvSpPr>
        <p:spPr/>
        <p:txBody>
          <a:bodyPr/>
          <a:lstStyle/>
          <a:p>
            <a:fld id="{919B753E-A5E7-4674-ACC8-1711CA16ACCF}" type="slidenum">
              <a:rPr lang="en-IN" smtClean="0"/>
              <a:t>13</a:t>
            </a:fld>
            <a:endParaRPr lang="en-IN"/>
          </a:p>
        </p:txBody>
      </p:sp>
      <p:sp>
        <p:nvSpPr>
          <p:cNvPr id="6" name="Content Placeholder 2"/>
          <p:cNvSpPr txBox="1">
            <a:spLocks/>
          </p:cNvSpPr>
          <p:nvPr/>
        </p:nvSpPr>
        <p:spPr>
          <a:xfrm>
            <a:off x="1637168" y="1628775"/>
            <a:ext cx="6113461" cy="4983372"/>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marL="0" indent="0">
              <a:buNone/>
            </a:pPr>
            <a:r>
              <a:rPr lang="en-IN" sz="1700" dirty="0">
                <a:solidFill>
                  <a:schemeClr val="tx1"/>
                </a:solidFill>
                <a:latin typeface="CorpoS"/>
                <a:sym typeface="CorpoS"/>
              </a:rPr>
              <a:t>The recipe for producing </a:t>
            </a:r>
            <a:r>
              <a:rPr lang="en-IN" sz="1700" dirty="0" smtClean="0">
                <a:solidFill>
                  <a:schemeClr val="tx1"/>
                </a:solidFill>
                <a:latin typeface="CorpoS"/>
                <a:sym typeface="CorpoS"/>
              </a:rPr>
              <a:t>coloured </a:t>
            </a:r>
            <a:r>
              <a:rPr lang="en-IN" sz="1700" dirty="0">
                <a:solidFill>
                  <a:schemeClr val="tx1"/>
                </a:solidFill>
                <a:latin typeface="CorpoS"/>
                <a:sym typeface="CorpoS"/>
              </a:rPr>
              <a:t>glass usually involves the addition of a metal to the glass. This is often accomplished by adding some powdered oxide, </a:t>
            </a:r>
            <a:r>
              <a:rPr lang="en-IN" sz="1700" dirty="0" smtClean="0">
                <a:solidFill>
                  <a:schemeClr val="tx1"/>
                </a:solidFill>
                <a:latin typeface="CorpoS"/>
                <a:sym typeface="CorpoS"/>
              </a:rPr>
              <a:t>sulphide, </a:t>
            </a:r>
            <a:r>
              <a:rPr lang="en-IN" sz="1700" dirty="0">
                <a:solidFill>
                  <a:schemeClr val="tx1"/>
                </a:solidFill>
                <a:latin typeface="CorpoS"/>
                <a:sym typeface="CorpoS"/>
              </a:rPr>
              <a:t>or other compound of that metal to the glass while it is molten. The table below lists some of the </a:t>
            </a:r>
            <a:r>
              <a:rPr lang="en-IN" sz="1700" dirty="0" smtClean="0">
                <a:solidFill>
                  <a:schemeClr val="tx1"/>
                </a:solidFill>
                <a:latin typeface="CorpoS"/>
                <a:sym typeface="CorpoS"/>
              </a:rPr>
              <a:t>colouring </a:t>
            </a:r>
            <a:r>
              <a:rPr lang="en-IN" sz="1700" dirty="0">
                <a:solidFill>
                  <a:schemeClr val="tx1"/>
                </a:solidFill>
                <a:latin typeface="CorpoS"/>
                <a:sym typeface="CorpoS"/>
              </a:rPr>
              <a:t>agents of glass and the </a:t>
            </a:r>
            <a:r>
              <a:rPr lang="en-IN" sz="1700" dirty="0" smtClean="0">
                <a:solidFill>
                  <a:schemeClr val="tx1"/>
                </a:solidFill>
                <a:latin typeface="CorpoS"/>
                <a:sym typeface="CorpoS"/>
              </a:rPr>
              <a:t>colours </a:t>
            </a:r>
            <a:r>
              <a:rPr lang="en-IN" sz="1700" dirty="0">
                <a:solidFill>
                  <a:schemeClr val="tx1"/>
                </a:solidFill>
                <a:latin typeface="CorpoS"/>
                <a:sym typeface="CorpoS"/>
              </a:rPr>
              <a:t>that they produce. Manganese dioxide and sodium nitrate are also listed. They are </a:t>
            </a:r>
            <a:r>
              <a:rPr lang="en-IN" sz="1700" dirty="0" smtClean="0">
                <a:solidFill>
                  <a:schemeClr val="tx1"/>
                </a:solidFill>
                <a:latin typeface="CorpoS"/>
                <a:sym typeface="CorpoS"/>
              </a:rPr>
              <a:t>decolouring </a:t>
            </a:r>
            <a:r>
              <a:rPr lang="en-IN" sz="1700" dirty="0">
                <a:solidFill>
                  <a:schemeClr val="tx1"/>
                </a:solidFill>
                <a:latin typeface="CorpoS"/>
                <a:sym typeface="CorpoS"/>
              </a:rPr>
              <a:t>agents - materials that neutralize the </a:t>
            </a:r>
            <a:r>
              <a:rPr lang="en-IN" sz="1700" dirty="0" smtClean="0">
                <a:solidFill>
                  <a:schemeClr val="tx1"/>
                </a:solidFill>
                <a:latin typeface="CorpoS"/>
                <a:sym typeface="CorpoS"/>
              </a:rPr>
              <a:t>colouring </a:t>
            </a:r>
            <a:r>
              <a:rPr lang="en-IN" sz="1700" dirty="0">
                <a:solidFill>
                  <a:schemeClr val="tx1"/>
                </a:solidFill>
                <a:latin typeface="CorpoS"/>
                <a:sym typeface="CorpoS"/>
              </a:rPr>
              <a:t>impact of impurities in the </a:t>
            </a:r>
            <a:r>
              <a:rPr lang="en-IN" sz="1700" dirty="0" smtClean="0">
                <a:solidFill>
                  <a:schemeClr val="tx1"/>
                </a:solidFill>
                <a:latin typeface="CorpoS"/>
                <a:sym typeface="CorpoS"/>
              </a:rPr>
              <a:t>glass.</a:t>
            </a:r>
          </a:p>
          <a:p>
            <a:pPr marL="0" indent="0">
              <a:buNone/>
            </a:pPr>
            <a:r>
              <a:rPr lang="en-IN" sz="1700" dirty="0">
                <a:solidFill>
                  <a:srgbClr val="FF0000"/>
                </a:solidFill>
                <a:latin typeface="CorpoS"/>
              </a:rPr>
              <a:t>Red</a:t>
            </a:r>
            <a:r>
              <a:rPr lang="en-IN" sz="1700" dirty="0">
                <a:solidFill>
                  <a:schemeClr val="tx1"/>
                </a:solidFill>
                <a:latin typeface="CorpoS"/>
              </a:rPr>
              <a:t>, a very important </a:t>
            </a:r>
            <a:r>
              <a:rPr lang="en-IN" sz="1700" dirty="0" smtClean="0">
                <a:solidFill>
                  <a:schemeClr val="tx1"/>
                </a:solidFill>
                <a:latin typeface="CorpoS"/>
              </a:rPr>
              <a:t>colour </a:t>
            </a:r>
            <a:r>
              <a:rPr lang="en-IN" sz="1700" dirty="0">
                <a:solidFill>
                  <a:schemeClr val="tx1"/>
                </a:solidFill>
                <a:latin typeface="CorpoS"/>
              </a:rPr>
              <a:t>for use in a stained glass window, was especially vulnerable to fading. Artists in many countries worked to produce a red glass that would hold its </a:t>
            </a:r>
            <a:r>
              <a:rPr lang="en-IN" sz="1700" dirty="0" smtClean="0">
                <a:solidFill>
                  <a:schemeClr val="tx1"/>
                </a:solidFill>
                <a:latin typeface="CorpoS"/>
              </a:rPr>
              <a:t>colour </a:t>
            </a:r>
            <a:r>
              <a:rPr lang="en-IN" sz="1700" dirty="0">
                <a:solidFill>
                  <a:schemeClr val="tx1"/>
                </a:solidFill>
                <a:latin typeface="CorpoS"/>
              </a:rPr>
              <a:t>through the years under the direct sunlight that passed through the windows. Eventually a permanent red </a:t>
            </a:r>
            <a:r>
              <a:rPr lang="en-IN" sz="1700" dirty="0" smtClean="0">
                <a:solidFill>
                  <a:schemeClr val="tx1"/>
                </a:solidFill>
                <a:latin typeface="CorpoS"/>
              </a:rPr>
              <a:t>colour </a:t>
            </a:r>
            <a:r>
              <a:rPr lang="en-IN" sz="1700" dirty="0">
                <a:solidFill>
                  <a:schemeClr val="tx1"/>
                </a:solidFill>
                <a:latin typeface="CorpoS"/>
              </a:rPr>
              <a:t>was developed by adding small amounts of gold to the glass. This significantly increased the cost of the glass, but the red </a:t>
            </a:r>
            <a:r>
              <a:rPr lang="en-IN" sz="1700" dirty="0" smtClean="0">
                <a:solidFill>
                  <a:schemeClr val="tx1"/>
                </a:solidFill>
                <a:latin typeface="CorpoS"/>
              </a:rPr>
              <a:t>colour </a:t>
            </a:r>
            <a:r>
              <a:rPr lang="en-IN" sz="1700" dirty="0">
                <a:solidFill>
                  <a:schemeClr val="tx1"/>
                </a:solidFill>
                <a:latin typeface="CorpoS"/>
              </a:rPr>
              <a:t>was achieved. Even today, if you purchase a red sheet of glass it will cost significantly more than any other colour.</a:t>
            </a:r>
          </a:p>
        </p:txBody>
      </p:sp>
      <p:graphicFrame>
        <p:nvGraphicFramePr>
          <p:cNvPr id="3" name="Table 2"/>
          <p:cNvGraphicFramePr>
            <a:graphicFrameLocks noGrp="1"/>
          </p:cNvGraphicFramePr>
          <p:nvPr>
            <p:extLst>
              <p:ext uri="{D42A27DB-BD31-4B8C-83A1-F6EECF244321}">
                <p14:modId xmlns:p14="http://schemas.microsoft.com/office/powerpoint/2010/main" val="2039096936"/>
              </p:ext>
            </p:extLst>
          </p:nvPr>
        </p:nvGraphicFramePr>
        <p:xfrm>
          <a:off x="7826829" y="1648164"/>
          <a:ext cx="4201884" cy="4761745"/>
        </p:xfrm>
        <a:graphic>
          <a:graphicData uri="http://schemas.openxmlformats.org/drawingml/2006/table">
            <a:tbl>
              <a:tblPr>
                <a:tableStyleId>{21E4AEA4-8DFA-4A89-87EB-49C32662AFE0}</a:tableStyleId>
              </a:tblPr>
              <a:tblGrid>
                <a:gridCol w="1893275">
                  <a:extLst>
                    <a:ext uri="{9D8B030D-6E8A-4147-A177-3AD203B41FA5}">
                      <a16:colId xmlns:a16="http://schemas.microsoft.com/office/drawing/2014/main" xmlns="" val="1957802318"/>
                    </a:ext>
                  </a:extLst>
                </a:gridCol>
                <a:gridCol w="2308609">
                  <a:extLst>
                    <a:ext uri="{9D8B030D-6E8A-4147-A177-3AD203B41FA5}">
                      <a16:colId xmlns:a16="http://schemas.microsoft.com/office/drawing/2014/main" xmlns="" val="93685528"/>
                    </a:ext>
                  </a:extLst>
                </a:gridCol>
              </a:tblGrid>
              <a:tr h="177541">
                <a:tc gridSpan="2">
                  <a:txBody>
                    <a:bodyPr/>
                    <a:lstStyle/>
                    <a:p>
                      <a:pPr algn="ctr"/>
                      <a:r>
                        <a:rPr lang="en-IN" sz="1300" b="1" dirty="0" smtClean="0">
                          <a:effectLst/>
                        </a:rPr>
                        <a:t>Metals </a:t>
                      </a:r>
                      <a:r>
                        <a:rPr lang="en-IN" sz="1300" b="1" dirty="0">
                          <a:effectLst/>
                        </a:rPr>
                        <a:t>Used to Impart </a:t>
                      </a:r>
                      <a:r>
                        <a:rPr lang="en-IN" sz="1300" b="1" dirty="0" smtClean="0">
                          <a:effectLst/>
                        </a:rPr>
                        <a:t>Colour </a:t>
                      </a:r>
                      <a:r>
                        <a:rPr lang="en-IN" sz="1300" b="1" dirty="0">
                          <a:effectLst/>
                        </a:rPr>
                        <a:t>to Glass</a:t>
                      </a:r>
                      <a:endParaRPr lang="en-IN" sz="1300" b="1" dirty="0">
                        <a:solidFill>
                          <a:srgbClr val="666666"/>
                        </a:solidFill>
                        <a:effectLst/>
                        <a:latin typeface="Arial" panose="020B0604020202020204" pitchFamily="34" charset="0"/>
                        <a:cs typeface="Arial" panose="020B0604020202020204" pitchFamily="34" charset="0"/>
                      </a:endParaRPr>
                    </a:p>
                  </a:txBody>
                  <a:tcPr marL="64999" marR="64999" marT="32500" marB="32500" anchor="ctr">
                    <a:solidFill>
                      <a:schemeClr val="bg2">
                        <a:lumMod val="75000"/>
                      </a:schemeClr>
                    </a:solidFill>
                  </a:tcPr>
                </a:tc>
                <a:tc hMerge="1">
                  <a:txBody>
                    <a:bodyPr/>
                    <a:lstStyle/>
                    <a:p>
                      <a:endParaRPr lang="en-IN"/>
                    </a:p>
                  </a:txBody>
                  <a:tcPr/>
                </a:tc>
                <a:extLst>
                  <a:ext uri="{0D108BD9-81ED-4DB2-BD59-A6C34878D82A}">
                    <a16:rowId xmlns:a16="http://schemas.microsoft.com/office/drawing/2014/main" xmlns="" val="1903117080"/>
                  </a:ext>
                </a:extLst>
              </a:tr>
              <a:tr h="264625">
                <a:tc>
                  <a:txBody>
                    <a:bodyPr/>
                    <a:lstStyle/>
                    <a:p>
                      <a:r>
                        <a:rPr lang="en-IN" sz="1300" dirty="0"/>
                        <a:t>Cadmium </a:t>
                      </a:r>
                      <a:r>
                        <a:rPr lang="en-IN" sz="1300" dirty="0" smtClean="0"/>
                        <a:t>Sulphide</a:t>
                      </a:r>
                      <a:endParaRPr lang="en-IN" sz="1300" dirty="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dirty="0"/>
                        <a:t>Yellow</a:t>
                      </a:r>
                      <a:endParaRPr lang="en-IN" sz="1300" dirty="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2354510359"/>
                  </a:ext>
                </a:extLst>
              </a:tr>
              <a:tr h="264625">
                <a:tc>
                  <a:txBody>
                    <a:bodyPr/>
                    <a:lstStyle/>
                    <a:p>
                      <a:r>
                        <a:rPr lang="en-IN" sz="1300"/>
                        <a:t>Gold Chloride</a:t>
                      </a:r>
                      <a:endParaRPr lang="en-IN" sz="130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dirty="0"/>
                        <a:t>Red</a:t>
                      </a:r>
                      <a:endParaRPr lang="en-IN" sz="1300" dirty="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3710382754"/>
                  </a:ext>
                </a:extLst>
              </a:tr>
              <a:tr h="264625">
                <a:tc>
                  <a:txBody>
                    <a:bodyPr/>
                    <a:lstStyle/>
                    <a:p>
                      <a:r>
                        <a:rPr lang="en-IN" sz="1300" dirty="0"/>
                        <a:t>Cobalt Oxide</a:t>
                      </a:r>
                      <a:endParaRPr lang="en-IN" sz="1300" dirty="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a:t>Blue-Violet</a:t>
                      </a:r>
                      <a:endParaRPr lang="en-IN" sz="130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3360679622"/>
                  </a:ext>
                </a:extLst>
              </a:tr>
              <a:tr h="264625">
                <a:tc>
                  <a:txBody>
                    <a:bodyPr/>
                    <a:lstStyle/>
                    <a:p>
                      <a:r>
                        <a:rPr lang="en-IN" sz="1300"/>
                        <a:t>Manganese Dioxide</a:t>
                      </a:r>
                      <a:endParaRPr lang="en-IN" sz="130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a:t>Purple</a:t>
                      </a:r>
                      <a:endParaRPr lang="en-IN" sz="130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709031948"/>
                  </a:ext>
                </a:extLst>
              </a:tr>
              <a:tr h="264625">
                <a:tc>
                  <a:txBody>
                    <a:bodyPr/>
                    <a:lstStyle/>
                    <a:p>
                      <a:r>
                        <a:rPr lang="en-IN" sz="1300" dirty="0"/>
                        <a:t>Nickel Oxide</a:t>
                      </a:r>
                      <a:endParaRPr lang="en-IN" sz="1300" dirty="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a:t>Violet</a:t>
                      </a:r>
                      <a:endParaRPr lang="en-IN" sz="130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3862592013"/>
                  </a:ext>
                </a:extLst>
              </a:tr>
              <a:tr h="264625">
                <a:tc>
                  <a:txBody>
                    <a:bodyPr/>
                    <a:lstStyle/>
                    <a:p>
                      <a:r>
                        <a:rPr lang="en-IN" sz="1300" dirty="0" smtClean="0"/>
                        <a:t>Sulphur</a:t>
                      </a:r>
                      <a:endParaRPr lang="en-IN" sz="1300" dirty="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a:t>Yellow-Amber</a:t>
                      </a:r>
                      <a:endParaRPr lang="en-IN" sz="130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1611383875"/>
                  </a:ext>
                </a:extLst>
              </a:tr>
              <a:tr h="264625">
                <a:tc>
                  <a:txBody>
                    <a:bodyPr/>
                    <a:lstStyle/>
                    <a:p>
                      <a:r>
                        <a:rPr lang="en-IN" sz="1300" dirty="0"/>
                        <a:t>Chromic Oxide</a:t>
                      </a:r>
                      <a:endParaRPr lang="en-IN" sz="1300" dirty="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dirty="0"/>
                        <a:t>Emerald Green</a:t>
                      </a:r>
                      <a:endParaRPr lang="en-IN" sz="1300" dirty="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3978692143"/>
                  </a:ext>
                </a:extLst>
              </a:tr>
              <a:tr h="264625">
                <a:tc>
                  <a:txBody>
                    <a:bodyPr/>
                    <a:lstStyle/>
                    <a:p>
                      <a:r>
                        <a:rPr lang="en-IN" sz="1300" dirty="0"/>
                        <a:t>Uranium Oxide</a:t>
                      </a:r>
                      <a:endParaRPr lang="en-IN" sz="1300" dirty="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dirty="0"/>
                        <a:t>Fluorescent Yellow, Green</a:t>
                      </a:r>
                      <a:endParaRPr lang="en-IN" sz="1300" dirty="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1388370327"/>
                  </a:ext>
                </a:extLst>
              </a:tr>
              <a:tr h="264625">
                <a:tc>
                  <a:txBody>
                    <a:bodyPr/>
                    <a:lstStyle/>
                    <a:p>
                      <a:r>
                        <a:rPr lang="en-IN" sz="1300"/>
                        <a:t>Iron Oxide</a:t>
                      </a:r>
                      <a:endParaRPr lang="en-IN" sz="130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dirty="0"/>
                        <a:t>Greens and Browns</a:t>
                      </a:r>
                      <a:endParaRPr lang="en-IN" sz="1300" dirty="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3081377629"/>
                  </a:ext>
                </a:extLst>
              </a:tr>
              <a:tr h="264625">
                <a:tc>
                  <a:txBody>
                    <a:bodyPr/>
                    <a:lstStyle/>
                    <a:p>
                      <a:r>
                        <a:rPr lang="en-IN" sz="1300"/>
                        <a:t>Selenium Oxide</a:t>
                      </a:r>
                      <a:endParaRPr lang="en-IN" sz="130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dirty="0"/>
                        <a:t>Reds</a:t>
                      </a:r>
                      <a:endParaRPr lang="en-IN" sz="1300" dirty="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244859467"/>
                  </a:ext>
                </a:extLst>
              </a:tr>
              <a:tr h="264625">
                <a:tc>
                  <a:txBody>
                    <a:bodyPr/>
                    <a:lstStyle/>
                    <a:p>
                      <a:r>
                        <a:rPr lang="en-IN" sz="1300"/>
                        <a:t>Carbon Oxides</a:t>
                      </a:r>
                      <a:endParaRPr lang="en-IN" sz="130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dirty="0"/>
                        <a:t>Amber-Brown</a:t>
                      </a:r>
                      <a:endParaRPr lang="en-IN" sz="1300" dirty="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2752284843"/>
                  </a:ext>
                </a:extLst>
              </a:tr>
              <a:tr h="264625">
                <a:tc>
                  <a:txBody>
                    <a:bodyPr/>
                    <a:lstStyle/>
                    <a:p>
                      <a:r>
                        <a:rPr lang="en-IN" sz="1300"/>
                        <a:t>Antimony Oxides</a:t>
                      </a:r>
                      <a:endParaRPr lang="en-IN" sz="130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dirty="0"/>
                        <a:t>White</a:t>
                      </a:r>
                      <a:endParaRPr lang="en-IN" sz="1300" dirty="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1983578181"/>
                  </a:ext>
                </a:extLst>
              </a:tr>
              <a:tr h="264625">
                <a:tc>
                  <a:txBody>
                    <a:bodyPr/>
                    <a:lstStyle/>
                    <a:p>
                      <a:r>
                        <a:rPr lang="en-IN" sz="1300"/>
                        <a:t>Copper Compounds</a:t>
                      </a:r>
                      <a:endParaRPr lang="en-IN" sz="130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dirty="0"/>
                        <a:t>Blue, Green, Red</a:t>
                      </a:r>
                      <a:endParaRPr lang="en-IN" sz="1300" dirty="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3015521216"/>
                  </a:ext>
                </a:extLst>
              </a:tr>
              <a:tr h="264625">
                <a:tc>
                  <a:txBody>
                    <a:bodyPr/>
                    <a:lstStyle/>
                    <a:p>
                      <a:r>
                        <a:rPr lang="en-IN" sz="1300"/>
                        <a:t>Tin Compounds</a:t>
                      </a:r>
                      <a:endParaRPr lang="en-IN" sz="130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dirty="0"/>
                        <a:t>White</a:t>
                      </a:r>
                      <a:endParaRPr lang="en-IN" sz="1300" dirty="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1778031143"/>
                  </a:ext>
                </a:extLst>
              </a:tr>
              <a:tr h="264625">
                <a:tc>
                  <a:txBody>
                    <a:bodyPr/>
                    <a:lstStyle/>
                    <a:p>
                      <a:r>
                        <a:rPr lang="en-IN" sz="1300"/>
                        <a:t>Lead Compounds</a:t>
                      </a:r>
                      <a:endParaRPr lang="en-IN" sz="130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dirty="0"/>
                        <a:t>Yellow</a:t>
                      </a:r>
                      <a:endParaRPr lang="en-IN" sz="1300" dirty="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3577792117"/>
                  </a:ext>
                </a:extLst>
              </a:tr>
              <a:tr h="264625">
                <a:tc>
                  <a:txBody>
                    <a:bodyPr/>
                    <a:lstStyle/>
                    <a:p>
                      <a:r>
                        <a:rPr lang="en-IN" sz="1300"/>
                        <a:t>Manganese Dioxide</a:t>
                      </a:r>
                      <a:endParaRPr lang="en-IN" sz="130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dirty="0"/>
                        <a:t>A </a:t>
                      </a:r>
                      <a:r>
                        <a:rPr lang="en-IN" sz="1300" dirty="0" smtClean="0"/>
                        <a:t>"decolouring" </a:t>
                      </a:r>
                      <a:r>
                        <a:rPr lang="en-IN" sz="1300" dirty="0"/>
                        <a:t>agent</a:t>
                      </a:r>
                      <a:endParaRPr lang="en-IN" sz="1300" dirty="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872969467"/>
                  </a:ext>
                </a:extLst>
              </a:tr>
              <a:tr h="264625">
                <a:tc>
                  <a:txBody>
                    <a:bodyPr/>
                    <a:lstStyle/>
                    <a:p>
                      <a:r>
                        <a:rPr lang="en-IN" sz="1300" dirty="0"/>
                        <a:t>Sodium Nitrate</a:t>
                      </a:r>
                      <a:endParaRPr lang="en-IN" sz="1300" dirty="0">
                        <a:latin typeface="Arial" panose="020B0604020202020204" pitchFamily="34" charset="0"/>
                        <a:cs typeface="Arial" panose="020B0604020202020204" pitchFamily="34" charset="0"/>
                      </a:endParaRPr>
                    </a:p>
                  </a:txBody>
                  <a:tcPr marL="64999" marR="64999" marT="32500" marB="32500" anchor="ctr"/>
                </a:tc>
                <a:tc>
                  <a:txBody>
                    <a:bodyPr/>
                    <a:lstStyle/>
                    <a:p>
                      <a:pPr algn="ctr"/>
                      <a:r>
                        <a:rPr lang="en-IN" sz="1300" dirty="0"/>
                        <a:t>A </a:t>
                      </a:r>
                      <a:r>
                        <a:rPr lang="en-IN" sz="1300" dirty="0" smtClean="0"/>
                        <a:t>"decolouring" </a:t>
                      </a:r>
                      <a:r>
                        <a:rPr lang="en-IN" sz="1300" dirty="0"/>
                        <a:t>agent</a:t>
                      </a:r>
                      <a:endParaRPr lang="en-IN" sz="1300" dirty="0">
                        <a:latin typeface="Arial" panose="020B0604020202020204" pitchFamily="34" charset="0"/>
                        <a:cs typeface="Arial" panose="020B0604020202020204" pitchFamily="34" charset="0"/>
                      </a:endParaRPr>
                    </a:p>
                  </a:txBody>
                  <a:tcPr marL="64999" marR="64999" marT="32500" marB="32500" anchor="ctr"/>
                </a:tc>
                <a:extLst>
                  <a:ext uri="{0D108BD9-81ED-4DB2-BD59-A6C34878D82A}">
                    <a16:rowId xmlns:a16="http://schemas.microsoft.com/office/drawing/2014/main" xmlns="" val="2761833557"/>
                  </a:ext>
                </a:extLst>
              </a:tr>
            </a:tbl>
          </a:graphicData>
        </a:graphic>
      </p:graphicFrame>
      <p:pic>
        <p:nvPicPr>
          <p:cNvPr id="7" name="Picture 6"/>
          <p:cNvPicPr>
            <a:picLocks noChangeAspect="1"/>
          </p:cNvPicPr>
          <p:nvPr/>
        </p:nvPicPr>
        <p:blipFill>
          <a:blip r:embed="rId2"/>
          <a:stretch>
            <a:fillRect/>
          </a:stretch>
        </p:blipFill>
        <p:spPr>
          <a:xfrm>
            <a:off x="9448798" y="33539"/>
            <a:ext cx="2240870" cy="1579468"/>
          </a:xfrm>
          <a:prstGeom prst="rect">
            <a:avLst/>
          </a:prstGeom>
          <a:ln>
            <a:noFill/>
          </a:ln>
          <a:effectLst>
            <a:softEdge rad="112500"/>
          </a:effectLst>
        </p:spPr>
      </p:pic>
    </p:spTree>
    <p:extLst>
      <p:ext uri="{BB962C8B-B14F-4D97-AF65-F5344CB8AC3E}">
        <p14:creationId xmlns:p14="http://schemas.microsoft.com/office/powerpoint/2010/main" val="27574775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smtClean="0"/>
              <a:t>Bullet-resistant glass (</a:t>
            </a:r>
            <a:r>
              <a:rPr lang="en-IN" b="1" dirty="0"/>
              <a:t>ballistic </a:t>
            </a:r>
            <a:r>
              <a:rPr lang="en-IN" b="1" dirty="0" smtClean="0"/>
              <a:t>glass)</a:t>
            </a:r>
            <a:endParaRPr lang="en-IN" dirty="0"/>
          </a:p>
        </p:txBody>
      </p:sp>
      <p:sp>
        <p:nvSpPr>
          <p:cNvPr id="3" name="Content Placeholder 2"/>
          <p:cNvSpPr>
            <a:spLocks noGrp="1"/>
          </p:cNvSpPr>
          <p:nvPr>
            <p:ph idx="1"/>
          </p:nvPr>
        </p:nvSpPr>
        <p:spPr>
          <a:xfrm>
            <a:off x="1808922" y="1628775"/>
            <a:ext cx="6986735" cy="4679950"/>
          </a:xfrm>
        </p:spPr>
        <p:txBody>
          <a:bodyPr/>
          <a:lstStyle/>
          <a:p>
            <a:r>
              <a:rPr lang="en-IN" dirty="0" smtClean="0"/>
              <a:t>Bullet Proof glass is </a:t>
            </a:r>
            <a:r>
              <a:rPr lang="en-IN" dirty="0"/>
              <a:t>a strong and optically transparent material that is particularly resistant to penetration by </a:t>
            </a:r>
            <a:r>
              <a:rPr lang="en-IN" dirty="0" smtClean="0"/>
              <a:t>projectiles - it </a:t>
            </a:r>
            <a:r>
              <a:rPr lang="en-IN" dirty="0"/>
              <a:t>is not completely </a:t>
            </a:r>
            <a:r>
              <a:rPr lang="en-IN" dirty="0" smtClean="0"/>
              <a:t>impenetrable</a:t>
            </a:r>
          </a:p>
          <a:p>
            <a:r>
              <a:rPr lang="en-IN" dirty="0" smtClean="0"/>
              <a:t>Bullet-resistant </a:t>
            </a:r>
            <a:r>
              <a:rPr lang="en-IN" dirty="0"/>
              <a:t>glass is constructed using layers of laminated glass. </a:t>
            </a:r>
            <a:r>
              <a:rPr lang="en-IN" b="1" dirty="0">
                <a:solidFill>
                  <a:srgbClr val="0070C0"/>
                </a:solidFill>
              </a:rPr>
              <a:t>The more layers there are, the more protection the glass </a:t>
            </a:r>
            <a:r>
              <a:rPr lang="en-IN" b="1" dirty="0" smtClean="0">
                <a:solidFill>
                  <a:srgbClr val="0070C0"/>
                </a:solidFill>
              </a:rPr>
              <a:t>offer</a:t>
            </a:r>
          </a:p>
          <a:p>
            <a:r>
              <a:rPr lang="en-IN" dirty="0"/>
              <a:t>Laminated glass layers are built from glass sheets bonded together with </a:t>
            </a:r>
            <a:r>
              <a:rPr lang="en-IN" dirty="0" smtClean="0"/>
              <a:t>Poly-Vinyl </a:t>
            </a:r>
            <a:r>
              <a:rPr lang="en-IN" dirty="0" err="1" smtClean="0"/>
              <a:t>Butyral</a:t>
            </a:r>
            <a:r>
              <a:rPr lang="en-IN" dirty="0" smtClean="0"/>
              <a:t>, </a:t>
            </a:r>
            <a:r>
              <a:rPr lang="en-IN" dirty="0"/>
              <a:t>polyurethane, </a:t>
            </a:r>
            <a:r>
              <a:rPr lang="en-IN" dirty="0" err="1"/>
              <a:t>Sentryglas</a:t>
            </a:r>
            <a:r>
              <a:rPr lang="en-IN" dirty="0"/>
              <a:t> or ethylene-vinyl acetate. When treated with chemical processes, the glass becomes much stronger. This design has been in regular use on combat vehicles since World War II. It is typically thick and is usually extremely heavy</a:t>
            </a:r>
            <a:endParaRPr lang="en-IN" dirty="0" smtClean="0"/>
          </a:p>
          <a:p>
            <a:r>
              <a:rPr lang="en-IN" dirty="0"/>
              <a:t>Bulletproof glass varies in thickness from 3⁄4 to 3 1⁄2 inches (19 to 89 mm)</a:t>
            </a:r>
          </a:p>
        </p:txBody>
      </p:sp>
      <p:sp>
        <p:nvSpPr>
          <p:cNvPr id="5" name="Slide Number Placeholder 4"/>
          <p:cNvSpPr>
            <a:spLocks noGrp="1"/>
          </p:cNvSpPr>
          <p:nvPr>
            <p:ph type="sldNum" sz="quarter" idx="12"/>
          </p:nvPr>
        </p:nvSpPr>
        <p:spPr/>
        <p:txBody>
          <a:bodyPr/>
          <a:lstStyle/>
          <a:p>
            <a:fld id="{919B753E-A5E7-4674-ACC8-1711CA16ACCF}" type="slidenum">
              <a:rPr lang="en-IN" smtClean="0"/>
              <a:t>14</a:t>
            </a:fld>
            <a:endParaRPr lang="en-IN" dirty="0"/>
          </a:p>
        </p:txBody>
      </p:sp>
      <p:pic>
        <p:nvPicPr>
          <p:cNvPr id="4098" name="Picture 2" descr="A diagram explaining how bulletproof glass work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32410" y="1145101"/>
            <a:ext cx="3073585" cy="516362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76876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8 Levels of Bullet-Resistant </a:t>
            </a:r>
            <a:r>
              <a:rPr lang="en-IN" dirty="0" smtClean="0"/>
              <a:t>Glass</a:t>
            </a:r>
            <a:endParaRPr lang="en-IN" dirty="0"/>
          </a:p>
        </p:txBody>
      </p:sp>
      <p:sp>
        <p:nvSpPr>
          <p:cNvPr id="5" name="Slide Number Placeholder 4"/>
          <p:cNvSpPr>
            <a:spLocks noGrp="1"/>
          </p:cNvSpPr>
          <p:nvPr>
            <p:ph type="sldNum" sz="quarter" idx="12"/>
          </p:nvPr>
        </p:nvSpPr>
        <p:spPr/>
        <p:txBody>
          <a:bodyPr/>
          <a:lstStyle/>
          <a:p>
            <a:fld id="{919B753E-A5E7-4674-ACC8-1711CA16ACCF}" type="slidenum">
              <a:rPr lang="en-IN" smtClean="0"/>
              <a:t>15</a:t>
            </a:fld>
            <a:endParaRPr lang="en-IN"/>
          </a:p>
        </p:txBody>
      </p:sp>
      <p:pic>
        <p:nvPicPr>
          <p:cNvPr id="6" name="Picture 5"/>
          <p:cNvPicPr>
            <a:picLocks noChangeAspect="1"/>
          </p:cNvPicPr>
          <p:nvPr/>
        </p:nvPicPr>
        <p:blipFill>
          <a:blip r:embed="rId2"/>
          <a:stretch>
            <a:fillRect/>
          </a:stretch>
        </p:blipFill>
        <p:spPr>
          <a:xfrm>
            <a:off x="280700" y="2303147"/>
            <a:ext cx="11824212" cy="3713389"/>
          </a:xfrm>
          <a:prstGeom prst="rect">
            <a:avLst/>
          </a:prstGeom>
        </p:spPr>
      </p:pic>
      <p:pic>
        <p:nvPicPr>
          <p:cNvPr id="7" name="Picture 6"/>
          <p:cNvPicPr>
            <a:picLocks noChangeAspect="1"/>
          </p:cNvPicPr>
          <p:nvPr/>
        </p:nvPicPr>
        <p:blipFill>
          <a:blip r:embed="rId3"/>
          <a:stretch>
            <a:fillRect/>
          </a:stretch>
        </p:blipFill>
        <p:spPr>
          <a:xfrm>
            <a:off x="9504563" y="67884"/>
            <a:ext cx="2501432" cy="2170046"/>
          </a:xfrm>
          <a:prstGeom prst="rect">
            <a:avLst/>
          </a:prstGeom>
          <a:ln>
            <a:noFill/>
          </a:ln>
          <a:effectLst>
            <a:softEdge rad="112500"/>
          </a:effectLst>
        </p:spPr>
      </p:pic>
    </p:spTree>
    <p:extLst>
      <p:ext uri="{BB962C8B-B14F-4D97-AF65-F5344CB8AC3E}">
        <p14:creationId xmlns:p14="http://schemas.microsoft.com/office/powerpoint/2010/main" val="2005698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smtClean="0"/>
              <a:t>Application of Glass</a:t>
            </a:r>
            <a:endParaRPr lang="en-IN" b="1" dirty="0"/>
          </a:p>
        </p:txBody>
      </p:sp>
      <p:sp>
        <p:nvSpPr>
          <p:cNvPr id="3" name="Content Placeholder 2"/>
          <p:cNvSpPr>
            <a:spLocks noGrp="1"/>
          </p:cNvSpPr>
          <p:nvPr>
            <p:ph idx="1"/>
          </p:nvPr>
        </p:nvSpPr>
        <p:spPr/>
        <p:txBody>
          <a:bodyPr>
            <a:normAutofit fontScale="85000" lnSpcReduction="10000"/>
          </a:bodyPr>
          <a:lstStyle/>
          <a:p>
            <a:pPr marL="0" indent="0">
              <a:lnSpc>
                <a:spcPct val="110000"/>
              </a:lnSpc>
              <a:buNone/>
            </a:pPr>
            <a:r>
              <a:rPr lang="en-IN" sz="1900" dirty="0"/>
              <a:t>Glass is used in the following non-exhaustive list of products</a:t>
            </a:r>
            <a:r>
              <a:rPr lang="en-IN" sz="1900" dirty="0" smtClean="0"/>
              <a:t>:</a:t>
            </a:r>
            <a:endParaRPr lang="en-IN" sz="1900" dirty="0"/>
          </a:p>
          <a:p>
            <a:pPr>
              <a:lnSpc>
                <a:spcPct val="110000"/>
              </a:lnSpc>
            </a:pPr>
            <a:r>
              <a:rPr lang="en-IN" sz="1900" dirty="0"/>
              <a:t>Packaging (jars for food, bottles for drinks, flacon for cosmetics and pharmaceuticals)</a:t>
            </a:r>
          </a:p>
          <a:p>
            <a:pPr>
              <a:lnSpc>
                <a:spcPct val="110000"/>
              </a:lnSpc>
            </a:pPr>
            <a:r>
              <a:rPr lang="en-IN" sz="1900" dirty="0"/>
              <a:t>Tableware (drinking glasses, plate, cups, bowls)</a:t>
            </a:r>
          </a:p>
          <a:p>
            <a:pPr>
              <a:lnSpc>
                <a:spcPct val="110000"/>
              </a:lnSpc>
            </a:pPr>
            <a:r>
              <a:rPr lang="en-IN" sz="1900" dirty="0"/>
              <a:t>Housing and buildings (windows, facades, conservatory, insulation, reinforcement structures)</a:t>
            </a:r>
          </a:p>
          <a:p>
            <a:pPr>
              <a:lnSpc>
                <a:spcPct val="110000"/>
              </a:lnSpc>
            </a:pPr>
            <a:r>
              <a:rPr lang="en-IN" sz="1900" dirty="0"/>
              <a:t>Interior design and </a:t>
            </a:r>
            <a:r>
              <a:rPr lang="en-IN" sz="1900" dirty="0" smtClean="0"/>
              <a:t>furniture </a:t>
            </a:r>
            <a:r>
              <a:rPr lang="en-IN" sz="1900" dirty="0"/>
              <a:t>(mirrors, partitions, balustrades, tables, shelves, lighting)</a:t>
            </a:r>
          </a:p>
          <a:p>
            <a:pPr>
              <a:lnSpc>
                <a:spcPct val="110000"/>
              </a:lnSpc>
            </a:pPr>
            <a:r>
              <a:rPr lang="en-IN" sz="1900" dirty="0"/>
              <a:t>Appliances and Electronics (oven doors, cook top, TV, computer screens, smart-phones)</a:t>
            </a:r>
          </a:p>
          <a:p>
            <a:pPr>
              <a:lnSpc>
                <a:spcPct val="110000"/>
              </a:lnSpc>
            </a:pPr>
            <a:r>
              <a:rPr lang="en-IN" sz="1900" dirty="0"/>
              <a:t>Automotive and transport (windscreens, backlights, light weight but reinforced structural components of cars, aircrafts, ships, etc.)</a:t>
            </a:r>
          </a:p>
          <a:p>
            <a:pPr>
              <a:lnSpc>
                <a:spcPct val="110000"/>
              </a:lnSpc>
            </a:pPr>
            <a:r>
              <a:rPr lang="en-IN" sz="1900" dirty="0"/>
              <a:t>Medical technology, biotechnology, life science engineering, optical glass</a:t>
            </a:r>
          </a:p>
          <a:p>
            <a:pPr>
              <a:lnSpc>
                <a:spcPct val="110000"/>
              </a:lnSpc>
            </a:pPr>
            <a:r>
              <a:rPr lang="en-IN" sz="1900" dirty="0"/>
              <a:t>Radiation protection from X-Rays (radiology) and gamma-rays (nuclear)</a:t>
            </a:r>
          </a:p>
          <a:p>
            <a:pPr>
              <a:lnSpc>
                <a:spcPct val="110000"/>
              </a:lnSpc>
            </a:pPr>
            <a:r>
              <a:rPr lang="en-IN" sz="1900" dirty="0"/>
              <a:t>Fibre optic cables (phones, TV, computer: to carry information)</a:t>
            </a:r>
          </a:p>
          <a:p>
            <a:pPr>
              <a:lnSpc>
                <a:spcPct val="110000"/>
              </a:lnSpc>
            </a:pPr>
            <a:r>
              <a:rPr lang="en-IN" sz="1900" dirty="0"/>
              <a:t>Renewable energy (solar-energy glass, </a:t>
            </a:r>
            <a:r>
              <a:rPr lang="en-IN" sz="1900" dirty="0" smtClean="0"/>
              <a:t>wind turbines) </a:t>
            </a:r>
          </a:p>
          <a:p>
            <a:pPr marL="0" indent="0">
              <a:lnSpc>
                <a:spcPct val="110000"/>
              </a:lnSpc>
              <a:buNone/>
            </a:pPr>
            <a:r>
              <a:rPr lang="en-IN" sz="1900" dirty="0" smtClean="0"/>
              <a:t>All </a:t>
            </a:r>
            <a:r>
              <a:rPr lang="en-IN" sz="1900" dirty="0"/>
              <a:t>of this is made possible by the countless properties of the glass substance</a:t>
            </a:r>
          </a:p>
          <a:p>
            <a:endParaRPr lang="en-IN" dirty="0"/>
          </a:p>
        </p:txBody>
      </p:sp>
      <p:sp>
        <p:nvSpPr>
          <p:cNvPr id="5" name="Slide Number Placeholder 4"/>
          <p:cNvSpPr>
            <a:spLocks noGrp="1"/>
          </p:cNvSpPr>
          <p:nvPr>
            <p:ph type="sldNum" sz="quarter" idx="12"/>
          </p:nvPr>
        </p:nvSpPr>
        <p:spPr/>
        <p:txBody>
          <a:bodyPr/>
          <a:lstStyle/>
          <a:p>
            <a:fld id="{919B753E-A5E7-4674-ACC8-1711CA16ACCF}" type="slidenum">
              <a:rPr lang="en-IN" smtClean="0"/>
              <a:t>16</a:t>
            </a:fld>
            <a:endParaRPr lang="en-IN"/>
          </a:p>
        </p:txBody>
      </p:sp>
    </p:spTree>
    <p:extLst>
      <p:ext uri="{BB962C8B-B14F-4D97-AF65-F5344CB8AC3E}">
        <p14:creationId xmlns:p14="http://schemas.microsoft.com/office/powerpoint/2010/main" val="21434753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b="1" dirty="0"/>
              <a:t>The future of </a:t>
            </a:r>
            <a:r>
              <a:rPr lang="en-IN" b="1" dirty="0" smtClean="0"/>
              <a:t>glass</a:t>
            </a:r>
            <a:endParaRPr lang="en-IN" b="1" dirty="0"/>
          </a:p>
        </p:txBody>
      </p:sp>
      <p:sp>
        <p:nvSpPr>
          <p:cNvPr id="3" name="Content Placeholder 2"/>
          <p:cNvSpPr>
            <a:spLocks noGrp="1"/>
          </p:cNvSpPr>
          <p:nvPr>
            <p:ph idx="1"/>
          </p:nvPr>
        </p:nvSpPr>
        <p:spPr>
          <a:xfrm>
            <a:off x="1387779" y="1429205"/>
            <a:ext cx="10804221" cy="4679950"/>
          </a:xfrm>
        </p:spPr>
        <p:txBody>
          <a:bodyPr>
            <a:noAutofit/>
          </a:bodyPr>
          <a:lstStyle/>
          <a:p>
            <a:pPr marL="0" indent="0">
              <a:buNone/>
            </a:pPr>
            <a:r>
              <a:rPr lang="en-IN" dirty="0"/>
              <a:t>The outcome of research in all different fields could open up tremendous opportunities for the development of future glass products and the way we currently use glass in various applications. Just imagine</a:t>
            </a:r>
            <a:r>
              <a:rPr lang="en-IN" dirty="0" smtClean="0"/>
              <a:t>:</a:t>
            </a:r>
            <a:endParaRPr lang="en-IN" dirty="0"/>
          </a:p>
          <a:p>
            <a:r>
              <a:rPr lang="en-IN" b="1" dirty="0"/>
              <a:t>Smart glass bottles and containers </a:t>
            </a:r>
            <a:r>
              <a:rPr lang="en-IN" dirty="0"/>
              <a:t>whose colour changes depending on the liquid temperature (medicines, wines, perishable products, etc.)</a:t>
            </a:r>
          </a:p>
          <a:p>
            <a:r>
              <a:rPr lang="en-IN" dirty="0"/>
              <a:t>Interactive drinking glass</a:t>
            </a:r>
          </a:p>
          <a:p>
            <a:r>
              <a:rPr lang="en-IN" b="1" dirty="0"/>
              <a:t>Photovoltaic sunroof</a:t>
            </a:r>
            <a:r>
              <a:rPr lang="en-IN" dirty="0"/>
              <a:t> to provide electricity to hybrid and electric vehicles</a:t>
            </a:r>
          </a:p>
          <a:p>
            <a:r>
              <a:rPr lang="en-IN" dirty="0"/>
              <a:t>LED light sources in jewellery</a:t>
            </a:r>
          </a:p>
          <a:p>
            <a:r>
              <a:rPr lang="en-IN" dirty="0"/>
              <a:t>Mirrors assessing the </a:t>
            </a:r>
            <a:r>
              <a:rPr lang="en-IN" b="1" dirty="0"/>
              <a:t>health condition </a:t>
            </a:r>
            <a:r>
              <a:rPr lang="en-IN" dirty="0"/>
              <a:t>of the person standing in front of it</a:t>
            </a:r>
          </a:p>
          <a:p>
            <a:r>
              <a:rPr lang="en-IN" dirty="0"/>
              <a:t>Jewellery assessing the cardiac rhythm and body temperature</a:t>
            </a:r>
          </a:p>
          <a:p>
            <a:r>
              <a:rPr lang="en-IN" dirty="0"/>
              <a:t>More complex glass shapes and further improved insulation properties to free architects from constraints</a:t>
            </a:r>
          </a:p>
          <a:p>
            <a:r>
              <a:rPr lang="en-IN" dirty="0"/>
              <a:t>Smaller and best performing </a:t>
            </a:r>
            <a:r>
              <a:rPr lang="en-IN" b="1" dirty="0"/>
              <a:t>photovoltaic and wind energy electricity generation </a:t>
            </a:r>
            <a:r>
              <a:rPr lang="en-IN" b="1" dirty="0" smtClean="0"/>
              <a:t>equipment </a:t>
            </a:r>
            <a:r>
              <a:rPr lang="en-IN" dirty="0"/>
              <a:t>whose integration would become easier to fulfil most of Europe’s energy needs.</a:t>
            </a:r>
          </a:p>
          <a:p>
            <a:endParaRPr lang="en-IN" dirty="0" smtClean="0"/>
          </a:p>
          <a:p>
            <a:endParaRPr lang="en-IN" dirty="0"/>
          </a:p>
        </p:txBody>
      </p:sp>
      <p:sp>
        <p:nvSpPr>
          <p:cNvPr id="5" name="Slide Number Placeholder 4"/>
          <p:cNvSpPr>
            <a:spLocks noGrp="1"/>
          </p:cNvSpPr>
          <p:nvPr>
            <p:ph type="sldNum" sz="quarter" idx="12"/>
          </p:nvPr>
        </p:nvSpPr>
        <p:spPr/>
        <p:txBody>
          <a:bodyPr/>
          <a:lstStyle/>
          <a:p>
            <a:fld id="{919B753E-A5E7-4674-ACC8-1711CA16ACCF}" type="slidenum">
              <a:rPr lang="en-IN" smtClean="0"/>
              <a:t>17</a:t>
            </a:fld>
            <a:endParaRPr lang="en-IN"/>
          </a:p>
        </p:txBody>
      </p:sp>
    </p:spTree>
    <p:extLst>
      <p:ext uri="{BB962C8B-B14F-4D97-AF65-F5344CB8AC3E}">
        <p14:creationId xmlns:p14="http://schemas.microsoft.com/office/powerpoint/2010/main" val="42872304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Glass – An Introduction</a:t>
            </a:r>
          </a:p>
        </p:txBody>
      </p:sp>
      <p:sp>
        <p:nvSpPr>
          <p:cNvPr id="3" name="Content Placeholder 2"/>
          <p:cNvSpPr>
            <a:spLocks noGrp="1"/>
          </p:cNvSpPr>
          <p:nvPr>
            <p:ph idx="1"/>
          </p:nvPr>
        </p:nvSpPr>
        <p:spPr/>
        <p:txBody>
          <a:bodyPr/>
          <a:lstStyle/>
          <a:p>
            <a:pPr>
              <a:lnSpc>
                <a:spcPts val="3000"/>
              </a:lnSpc>
            </a:pPr>
            <a:r>
              <a:rPr lang="en-IN" sz="2000" dirty="0">
                <a:solidFill>
                  <a:srgbClr val="263F6A"/>
                </a:solidFill>
                <a:latin typeface="CorpoS"/>
              </a:rPr>
              <a:t>Glass is an inorganic product of fusion that has cooled to rigid condition without crystalizing </a:t>
            </a:r>
          </a:p>
          <a:p>
            <a:pPr>
              <a:lnSpc>
                <a:spcPts val="3000"/>
              </a:lnSpc>
            </a:pPr>
            <a:r>
              <a:rPr lang="en-US" sz="2000" dirty="0">
                <a:solidFill>
                  <a:srgbClr val="263F6A"/>
                </a:solidFill>
                <a:latin typeface="CorpoS"/>
                <a:sym typeface="CorpoS"/>
              </a:rPr>
              <a:t>When glass is cooled from the hot molten state, it gradually increases in viscosity without crystallization over a wide temperature range until it assumes its characteristic hard, brittle form. Cooling is controlled to prevent crystallization, or high strain.</a:t>
            </a:r>
          </a:p>
          <a:p>
            <a:pPr>
              <a:lnSpc>
                <a:spcPts val="3000"/>
              </a:lnSpc>
            </a:pPr>
            <a:r>
              <a:rPr lang="en-US" sz="2000" dirty="0">
                <a:solidFill>
                  <a:srgbClr val="263F6A"/>
                </a:solidFill>
                <a:latin typeface="CorpoS"/>
                <a:sym typeface="CorpoS"/>
              </a:rPr>
              <a:t>Glass is, actually more like a liquid, but at room temperature it is so viscous or sticky it looks and feel like solid. At higher temperature the glass become softer and more like a liquid. It is this later property which allows glass to be poured, blown, pressed and molded into such a variety of shapes.</a:t>
            </a:r>
          </a:p>
          <a:p>
            <a:pPr marL="0" indent="0">
              <a:buNone/>
            </a:pPr>
            <a:endParaRPr lang="en-IN" dirty="0"/>
          </a:p>
        </p:txBody>
      </p:sp>
      <p:sp>
        <p:nvSpPr>
          <p:cNvPr id="5" name="Slide Number Placeholder 4"/>
          <p:cNvSpPr>
            <a:spLocks noGrp="1"/>
          </p:cNvSpPr>
          <p:nvPr>
            <p:ph type="sldNum" sz="quarter" idx="12"/>
          </p:nvPr>
        </p:nvSpPr>
        <p:spPr/>
        <p:txBody>
          <a:bodyPr/>
          <a:lstStyle/>
          <a:p>
            <a:fld id="{919B753E-A5E7-4674-ACC8-1711CA16ACCF}" type="slidenum">
              <a:rPr lang="en-IN" smtClean="0"/>
              <a:t>2</a:t>
            </a:fld>
            <a:endParaRPr lang="en-IN"/>
          </a:p>
        </p:txBody>
      </p:sp>
    </p:spTree>
    <p:extLst>
      <p:ext uri="{BB962C8B-B14F-4D97-AF65-F5344CB8AC3E}">
        <p14:creationId xmlns:p14="http://schemas.microsoft.com/office/powerpoint/2010/main" val="25297723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smtClean="0"/>
              <a:t>History</a:t>
            </a:r>
            <a:endParaRPr lang="en-IN" b="1" dirty="0"/>
          </a:p>
        </p:txBody>
      </p:sp>
      <p:sp>
        <p:nvSpPr>
          <p:cNvPr id="3" name="Content Placeholder 2"/>
          <p:cNvSpPr>
            <a:spLocks noGrp="1"/>
          </p:cNvSpPr>
          <p:nvPr>
            <p:ph idx="1"/>
          </p:nvPr>
        </p:nvSpPr>
        <p:spPr/>
        <p:txBody>
          <a:bodyPr>
            <a:normAutofit/>
          </a:bodyPr>
          <a:lstStyle/>
          <a:p>
            <a:r>
              <a:rPr lang="en-IN" sz="1700" dirty="0"/>
              <a:t>Until the 16th century, window glass or other flat glass was generally cut from large discs (or rondels) of crown glass. Larger sheets of glass were made by blowing large cylinders which were cut open and flattened, then cut into panes. Most window glass in the early 19th century was made using the cylinder method. The 'cylinders' were 6 to 8 feet (180 to 240 cm) long and 10 to 14 inches (25 to 36 cm) in diameter, limiting the width that panes of glass could be cut, and resulting in </a:t>
            </a:r>
            <a:r>
              <a:rPr lang="en-IN" sz="1700" dirty="0" smtClean="0"/>
              <a:t>windows </a:t>
            </a:r>
            <a:r>
              <a:rPr lang="en-IN" sz="1700" dirty="0"/>
              <a:t>divided by transoms into rectangular panels</a:t>
            </a:r>
            <a:r>
              <a:rPr lang="en-IN" sz="1700" dirty="0" smtClean="0"/>
              <a:t>.</a:t>
            </a:r>
          </a:p>
          <a:p>
            <a:r>
              <a:rPr lang="en-IN" sz="1700" dirty="0"/>
              <a:t>Before the development of float glass, larger sheets of plate glass were made by casting a large puddle of glass on an iron surface, and then polishing both sides, a costly process. From the early 1920s, a continuous ribbon of plate glass was passed through a lengthy series of inline grinders and polishers, reducing glass losses and </a:t>
            </a:r>
            <a:r>
              <a:rPr lang="en-IN" sz="1700" dirty="0" smtClean="0"/>
              <a:t>cost</a:t>
            </a:r>
          </a:p>
          <a:p>
            <a:r>
              <a:rPr lang="en-IN" sz="1700" dirty="0"/>
              <a:t>Glass of lower quality, drawn glass, was made by drawing upwards from a pool of molten glass a thin sheet, held at the edges by rollers. As it cooled the rising sheet stiffened and could then be cut. The two surfaces were of lower quality i.e. not as smooth or uniform as those of float glass. This process continued in use for many years after the development of float glass.</a:t>
            </a:r>
          </a:p>
        </p:txBody>
      </p:sp>
      <p:sp>
        <p:nvSpPr>
          <p:cNvPr id="5" name="Slide Number Placeholder 4"/>
          <p:cNvSpPr>
            <a:spLocks noGrp="1"/>
          </p:cNvSpPr>
          <p:nvPr>
            <p:ph type="sldNum" sz="quarter" idx="12"/>
          </p:nvPr>
        </p:nvSpPr>
        <p:spPr/>
        <p:txBody>
          <a:bodyPr/>
          <a:lstStyle/>
          <a:p>
            <a:fld id="{919B753E-A5E7-4674-ACC8-1711CA16ACCF}" type="slidenum">
              <a:rPr lang="en-IN" smtClean="0"/>
              <a:t>3</a:t>
            </a:fld>
            <a:endParaRPr lang="en-IN"/>
          </a:p>
        </p:txBody>
      </p:sp>
    </p:spTree>
    <p:extLst>
      <p:ext uri="{BB962C8B-B14F-4D97-AF65-F5344CB8AC3E}">
        <p14:creationId xmlns:p14="http://schemas.microsoft.com/office/powerpoint/2010/main" val="5180417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b="1" dirty="0"/>
              <a:t>A</a:t>
            </a:r>
            <a:r>
              <a:rPr lang="en-IN" b="1" dirty="0" smtClean="0"/>
              <a:t>dvances </a:t>
            </a:r>
            <a:r>
              <a:rPr lang="en-IN" b="1" dirty="0"/>
              <a:t>in architectural glass</a:t>
            </a:r>
          </a:p>
        </p:txBody>
      </p:sp>
      <p:sp>
        <p:nvSpPr>
          <p:cNvPr id="3" name="Content Placeholder 2"/>
          <p:cNvSpPr>
            <a:spLocks noGrp="1"/>
          </p:cNvSpPr>
          <p:nvPr>
            <p:ph idx="1"/>
          </p:nvPr>
        </p:nvSpPr>
        <p:spPr/>
        <p:txBody>
          <a:bodyPr>
            <a:normAutofit fontScale="85000" lnSpcReduction="10000"/>
          </a:bodyPr>
          <a:lstStyle/>
          <a:p>
            <a:r>
              <a:rPr lang="en-IN" dirty="0"/>
              <a:t>1226: "Broad Sheet" first produced in </a:t>
            </a:r>
            <a:r>
              <a:rPr lang="en-IN" dirty="0" smtClean="0"/>
              <a:t>Sussex</a:t>
            </a:r>
            <a:endParaRPr lang="en-IN" dirty="0"/>
          </a:p>
          <a:p>
            <a:r>
              <a:rPr lang="en-IN" dirty="0"/>
              <a:t>1330: "Crown glass" for art work and vessels first produced in Rouen, France</a:t>
            </a:r>
            <a:r>
              <a:rPr lang="en-IN" dirty="0" smtClean="0"/>
              <a:t>. "Broad </a:t>
            </a:r>
            <a:r>
              <a:rPr lang="en-IN" dirty="0"/>
              <a:t>Sheet" also produced. Both were also supplied for export.</a:t>
            </a:r>
          </a:p>
          <a:p>
            <a:r>
              <a:rPr lang="en-IN" dirty="0"/>
              <a:t>1500s: A method of making mirrors out of plate glass was developed by Venetian glassmakers on the island of Murano, who covered the back of the glass with a mercury-tin amalgam, obtaining near-perfect and undistorted reflection.</a:t>
            </a:r>
          </a:p>
          <a:p>
            <a:r>
              <a:rPr lang="en-IN" dirty="0"/>
              <a:t>1620s: "Blown plate" first produced in London</a:t>
            </a:r>
            <a:r>
              <a:rPr lang="en-IN" dirty="0" smtClean="0"/>
              <a:t>. </a:t>
            </a:r>
            <a:r>
              <a:rPr lang="en-IN" dirty="0"/>
              <a:t>Used for mirrors and coach plates</a:t>
            </a:r>
            <a:r>
              <a:rPr lang="en-IN" dirty="0" smtClean="0"/>
              <a:t>.</a:t>
            </a:r>
            <a:endParaRPr lang="en-IN" dirty="0"/>
          </a:p>
          <a:p>
            <a:r>
              <a:rPr lang="en-IN" dirty="0"/>
              <a:t>1678: "Crown glass" first produced in London</a:t>
            </a:r>
            <a:r>
              <a:rPr lang="en-IN" dirty="0" smtClean="0"/>
              <a:t>. </a:t>
            </a:r>
            <a:r>
              <a:rPr lang="en-IN" dirty="0"/>
              <a:t>This process dominated until the 19th century.</a:t>
            </a:r>
          </a:p>
          <a:p>
            <a:r>
              <a:rPr lang="en-IN" dirty="0"/>
              <a:t>1843: An early form of "float glass" invented by Henry Bessemer, pouring glass onto liquid tin. Expensive and not a commercial success.</a:t>
            </a:r>
          </a:p>
          <a:p>
            <a:r>
              <a:rPr lang="en-IN" dirty="0"/>
              <a:t>1874: Tempered glass is developed by Francois </a:t>
            </a:r>
            <a:r>
              <a:rPr lang="en-IN" dirty="0" err="1"/>
              <a:t>Barthelemy</a:t>
            </a:r>
            <a:r>
              <a:rPr lang="en-IN" dirty="0"/>
              <a:t> Alfred Royer de la </a:t>
            </a:r>
            <a:r>
              <a:rPr lang="en-IN" dirty="0" err="1"/>
              <a:t>Bastie</a:t>
            </a:r>
            <a:r>
              <a:rPr lang="en-IN" dirty="0"/>
              <a:t> (1830–1901) of Paris, France by quenching almost molten glass in a heated bath of oil or grease.</a:t>
            </a:r>
          </a:p>
          <a:p>
            <a:r>
              <a:rPr lang="en-IN" dirty="0"/>
              <a:t>1888: Machine-rolled glass introduced, allowing patterns</a:t>
            </a:r>
            <a:r>
              <a:rPr lang="en-IN" dirty="0" smtClean="0"/>
              <a:t>.</a:t>
            </a:r>
            <a:endParaRPr lang="en-IN" dirty="0"/>
          </a:p>
          <a:p>
            <a:r>
              <a:rPr lang="en-IN" dirty="0"/>
              <a:t>1898: Wired-cast glass first commercially produced by </a:t>
            </a:r>
            <a:r>
              <a:rPr lang="en-IN" dirty="0" smtClean="0"/>
              <a:t>Pilkington </a:t>
            </a:r>
            <a:r>
              <a:rPr lang="en-IN" dirty="0"/>
              <a:t>for use where safety or security was an issue</a:t>
            </a:r>
            <a:r>
              <a:rPr lang="en-IN" dirty="0" smtClean="0"/>
              <a:t>.</a:t>
            </a:r>
            <a:endParaRPr lang="en-IN" dirty="0"/>
          </a:p>
          <a:p>
            <a:r>
              <a:rPr lang="en-IN" dirty="0"/>
              <a:t>1959: Float glass launched in UK. Invented by Sir Alastair Pilkington</a:t>
            </a:r>
          </a:p>
        </p:txBody>
      </p:sp>
      <p:sp>
        <p:nvSpPr>
          <p:cNvPr id="5" name="Slide Number Placeholder 4"/>
          <p:cNvSpPr>
            <a:spLocks noGrp="1"/>
          </p:cNvSpPr>
          <p:nvPr>
            <p:ph type="sldNum" sz="quarter" idx="12"/>
          </p:nvPr>
        </p:nvSpPr>
        <p:spPr/>
        <p:txBody>
          <a:bodyPr/>
          <a:lstStyle/>
          <a:p>
            <a:fld id="{919B753E-A5E7-4674-ACC8-1711CA16ACCF}" type="slidenum">
              <a:rPr lang="en-IN" smtClean="0"/>
              <a:t>4</a:t>
            </a:fld>
            <a:endParaRPr lang="en-IN"/>
          </a:p>
        </p:txBody>
      </p:sp>
    </p:spTree>
    <p:extLst>
      <p:ext uri="{BB962C8B-B14F-4D97-AF65-F5344CB8AC3E}">
        <p14:creationId xmlns:p14="http://schemas.microsoft.com/office/powerpoint/2010/main" val="4671468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ltLang="en-US" b="1" dirty="0"/>
              <a:t>Float Glass</a:t>
            </a:r>
            <a:endParaRPr lang="en-IN" b="1" dirty="0"/>
          </a:p>
        </p:txBody>
      </p:sp>
      <p:sp>
        <p:nvSpPr>
          <p:cNvPr id="3" name="Content Placeholder 2"/>
          <p:cNvSpPr>
            <a:spLocks noGrp="1"/>
          </p:cNvSpPr>
          <p:nvPr>
            <p:ph idx="1"/>
          </p:nvPr>
        </p:nvSpPr>
        <p:spPr>
          <a:xfrm>
            <a:off x="1811339" y="1628774"/>
            <a:ext cx="4066947" cy="4282169"/>
          </a:xfrm>
        </p:spPr>
        <p:txBody>
          <a:bodyPr>
            <a:normAutofit fontScale="92500"/>
          </a:bodyPr>
          <a:lstStyle/>
          <a:p>
            <a:pPr marL="0" indent="0">
              <a:buNone/>
            </a:pPr>
            <a:r>
              <a:rPr lang="en-US" sz="2400" dirty="0">
                <a:solidFill>
                  <a:srgbClr val="263F6A"/>
                </a:solidFill>
                <a:latin typeface="CorpoS"/>
                <a:sym typeface="CorpoS"/>
              </a:rPr>
              <a:t>Float Glass is a sheet of glass made by floating molten glass on a bed of molten metal, typically “tin”. This method gives the sheet uniform thickness and very flat surfaces. The float glass process is also known as ‘Pilkington Process’ named after British glass manufacturer Pilkington, which pioneered </a:t>
            </a:r>
            <a:r>
              <a:rPr lang="en-US" sz="2400" dirty="0" smtClean="0">
                <a:solidFill>
                  <a:srgbClr val="263F6A"/>
                </a:solidFill>
                <a:latin typeface="CorpoS"/>
                <a:sym typeface="CorpoS"/>
              </a:rPr>
              <a:t>the</a:t>
            </a:r>
            <a:r>
              <a:rPr lang="en-US" sz="2400" dirty="0">
                <a:solidFill>
                  <a:srgbClr val="263F6A"/>
                </a:solidFill>
                <a:latin typeface="CorpoS"/>
                <a:sym typeface="CorpoS"/>
              </a:rPr>
              <a:t> technique in 1950’s.</a:t>
            </a:r>
            <a:endParaRPr lang="en-IN" sz="2400" dirty="0"/>
          </a:p>
        </p:txBody>
      </p:sp>
      <p:sp>
        <p:nvSpPr>
          <p:cNvPr id="5" name="Slide Number Placeholder 4"/>
          <p:cNvSpPr>
            <a:spLocks noGrp="1"/>
          </p:cNvSpPr>
          <p:nvPr>
            <p:ph type="sldNum" sz="quarter" idx="12"/>
          </p:nvPr>
        </p:nvSpPr>
        <p:spPr/>
        <p:txBody>
          <a:bodyPr/>
          <a:lstStyle/>
          <a:p>
            <a:fld id="{919B753E-A5E7-4674-ACC8-1711CA16ACCF}" type="slidenum">
              <a:rPr lang="en-IN" smtClean="0"/>
              <a:t>5</a:t>
            </a:fld>
            <a:endParaRPr lang="en-IN"/>
          </a:p>
        </p:txBody>
      </p:sp>
      <p:pic>
        <p:nvPicPr>
          <p:cNvPr id="8" name="Picture 7"/>
          <p:cNvPicPr>
            <a:picLocks noChangeAspect="1"/>
          </p:cNvPicPr>
          <p:nvPr/>
        </p:nvPicPr>
        <p:blipFill>
          <a:blip r:embed="rId2"/>
          <a:stretch>
            <a:fillRect/>
          </a:stretch>
        </p:blipFill>
        <p:spPr>
          <a:xfrm>
            <a:off x="5894733" y="1449388"/>
            <a:ext cx="6111262" cy="3449183"/>
          </a:xfrm>
          <a:prstGeom prst="rect">
            <a:avLst/>
          </a:prstGeom>
          <a:ln>
            <a:noFill/>
          </a:ln>
          <a:effectLst>
            <a:softEdge rad="112500"/>
          </a:effectLst>
        </p:spPr>
      </p:pic>
      <p:sp>
        <p:nvSpPr>
          <p:cNvPr id="9" name="TextBox 8"/>
          <p:cNvSpPr txBox="1"/>
          <p:nvPr/>
        </p:nvSpPr>
        <p:spPr>
          <a:xfrm>
            <a:off x="7109956" y="5235723"/>
            <a:ext cx="3744936" cy="369332"/>
          </a:xfrm>
          <a:prstGeom prst="rect">
            <a:avLst/>
          </a:prstGeom>
          <a:noFill/>
        </p:spPr>
        <p:txBody>
          <a:bodyPr wrap="none" rtlCol="0">
            <a:spAutoFit/>
          </a:bodyPr>
          <a:lstStyle/>
          <a:p>
            <a:r>
              <a:rPr lang="en-IN" dirty="0">
                <a:hlinkClick r:id="rId3"/>
              </a:rPr>
              <a:t>https://</a:t>
            </a:r>
            <a:r>
              <a:rPr lang="en-IN" dirty="0" smtClean="0">
                <a:hlinkClick r:id="rId3"/>
              </a:rPr>
              <a:t>youtu.be/JMGkbrETU8M</a:t>
            </a:r>
            <a:r>
              <a:rPr lang="en-IN" dirty="0" smtClean="0"/>
              <a:t> </a:t>
            </a:r>
            <a:endParaRPr lang="en-IN" dirty="0"/>
          </a:p>
        </p:txBody>
      </p:sp>
    </p:spTree>
    <p:extLst>
      <p:ext uri="{BB962C8B-B14F-4D97-AF65-F5344CB8AC3E}">
        <p14:creationId xmlns:p14="http://schemas.microsoft.com/office/powerpoint/2010/main" val="5671719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smtClean="0"/>
              <a:t>Glass Manufacturing – 1/2</a:t>
            </a:r>
            <a:endParaRPr lang="en-IN" b="1" dirty="0"/>
          </a:p>
        </p:txBody>
      </p:sp>
      <p:sp>
        <p:nvSpPr>
          <p:cNvPr id="3" name="Content Placeholder 2"/>
          <p:cNvSpPr>
            <a:spLocks noGrp="1"/>
          </p:cNvSpPr>
          <p:nvPr>
            <p:ph idx="1"/>
          </p:nvPr>
        </p:nvSpPr>
        <p:spPr/>
        <p:txBody>
          <a:bodyPr>
            <a:normAutofit lnSpcReduction="10000"/>
          </a:bodyPr>
          <a:lstStyle/>
          <a:p>
            <a:r>
              <a:rPr lang="en-IN" sz="1700" dirty="0"/>
              <a:t>G</a:t>
            </a:r>
            <a:r>
              <a:rPr lang="en-IN" sz="1700" dirty="0" smtClean="0"/>
              <a:t>lass-making </a:t>
            </a:r>
            <a:r>
              <a:rPr lang="en-IN" sz="1700" dirty="0"/>
              <a:t>raw </a:t>
            </a:r>
            <a:r>
              <a:rPr lang="en-IN" sz="1700" dirty="0" smtClean="0"/>
              <a:t>materials </a:t>
            </a:r>
            <a:r>
              <a:rPr lang="en-IN" sz="1700" dirty="0"/>
              <a:t>typically consisting of sand, soda ash (sodium carbonate), dolomite, limestone, and salt cake (sodium </a:t>
            </a:r>
            <a:r>
              <a:rPr lang="en-IN" sz="1700" dirty="0" smtClean="0"/>
              <a:t>sulphate) </a:t>
            </a:r>
            <a:r>
              <a:rPr lang="en-IN" sz="1700" dirty="0"/>
              <a:t>etc. Other materials may be used as </a:t>
            </a:r>
            <a:r>
              <a:rPr lang="en-IN" sz="1700" dirty="0" smtClean="0"/>
              <a:t>colorants, </a:t>
            </a:r>
            <a:r>
              <a:rPr lang="en-IN" sz="1700" dirty="0"/>
              <a:t>refining agents or to adjust the physical and chemical properties of the </a:t>
            </a:r>
            <a:r>
              <a:rPr lang="en-IN" sz="1700" dirty="0" smtClean="0"/>
              <a:t>glass.</a:t>
            </a:r>
          </a:p>
          <a:p>
            <a:r>
              <a:rPr lang="en-IN" sz="1700" dirty="0" smtClean="0"/>
              <a:t>The </a:t>
            </a:r>
            <a:r>
              <a:rPr lang="en-IN" sz="1700" dirty="0"/>
              <a:t>raw materials are mixed in a batch process, then fed together with suitable cullet (waste glass), in a controlled ratio, into a furnace where it is heated to approximately 1500 °C. Common float glass furnaces are 9 m wide, 45 m long, and contain more than 1200 tons of glass. Once molten, the temperature of the glass is stabilised to approximately 1200 °C to ensure a homogeneous specific gravity</a:t>
            </a:r>
            <a:r>
              <a:rPr lang="en-IN" sz="1700" dirty="0" smtClean="0"/>
              <a:t>.</a:t>
            </a:r>
            <a:endParaRPr lang="en-IN" sz="1700" dirty="0"/>
          </a:p>
          <a:p>
            <a:r>
              <a:rPr lang="en-IN" sz="1700" dirty="0"/>
              <a:t>The molten glass is fed into a "tin bath", a bath of molten tin (about 3–4 m wide, 50 m long, 6 cm deep), from a delivery canal and is poured into the tin bath by a ceramic lip known as the spout lip.[9] The amount of glass allowed to pour onto the molten tin is controlled by a gate called a </a:t>
            </a:r>
            <a:r>
              <a:rPr lang="en-IN" sz="1700" dirty="0" err="1"/>
              <a:t>tweel</a:t>
            </a:r>
            <a:r>
              <a:rPr lang="en-IN" sz="1700" dirty="0" smtClean="0"/>
              <a:t>.</a:t>
            </a:r>
            <a:endParaRPr lang="en-IN" sz="1700" dirty="0"/>
          </a:p>
          <a:p>
            <a:r>
              <a:rPr lang="en-IN" sz="1700" dirty="0"/>
              <a:t>Tin is suitable for the float glass process because it has a high specific gravity, is cohesive, and is immiscible with molten glass. Tin, however, oxidises in a natural atmosphere to form tin dioxide (SnO2). Known in the production process as dross, the tin dioxide adheres to the glass. </a:t>
            </a:r>
            <a:endParaRPr lang="en-IN" dirty="0"/>
          </a:p>
        </p:txBody>
      </p:sp>
      <p:sp>
        <p:nvSpPr>
          <p:cNvPr id="5" name="Slide Number Placeholder 4"/>
          <p:cNvSpPr>
            <a:spLocks noGrp="1"/>
          </p:cNvSpPr>
          <p:nvPr>
            <p:ph type="sldNum" sz="quarter" idx="12"/>
          </p:nvPr>
        </p:nvSpPr>
        <p:spPr/>
        <p:txBody>
          <a:bodyPr/>
          <a:lstStyle/>
          <a:p>
            <a:fld id="{919B753E-A5E7-4674-ACC8-1711CA16ACCF}" type="slidenum">
              <a:rPr lang="en-IN" smtClean="0"/>
              <a:t>6</a:t>
            </a:fld>
            <a:endParaRPr lang="en-IN"/>
          </a:p>
        </p:txBody>
      </p:sp>
    </p:spTree>
    <p:extLst>
      <p:ext uri="{BB962C8B-B14F-4D97-AF65-F5344CB8AC3E}">
        <p14:creationId xmlns:p14="http://schemas.microsoft.com/office/powerpoint/2010/main" val="37436548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Glass </a:t>
            </a:r>
            <a:r>
              <a:rPr lang="en-IN" b="1" dirty="0" smtClean="0"/>
              <a:t>Manufacturing – 2/2</a:t>
            </a:r>
            <a:endParaRPr lang="en-IN" dirty="0"/>
          </a:p>
        </p:txBody>
      </p:sp>
      <p:sp>
        <p:nvSpPr>
          <p:cNvPr id="3" name="Content Placeholder 2"/>
          <p:cNvSpPr>
            <a:spLocks noGrp="1"/>
          </p:cNvSpPr>
          <p:nvPr>
            <p:ph idx="1"/>
          </p:nvPr>
        </p:nvSpPr>
        <p:spPr/>
        <p:txBody>
          <a:bodyPr>
            <a:normAutofit/>
          </a:bodyPr>
          <a:lstStyle/>
          <a:p>
            <a:r>
              <a:rPr lang="en-IN" sz="1700" dirty="0"/>
              <a:t>To prevent oxidation, the tin bath is provided with a positive pressure protective atmosphere of nitrogen and </a:t>
            </a:r>
            <a:r>
              <a:rPr lang="en-IN" sz="1700" dirty="0" smtClean="0"/>
              <a:t>hydrogen</a:t>
            </a:r>
          </a:p>
          <a:p>
            <a:r>
              <a:rPr lang="en-IN" sz="1700" dirty="0" smtClean="0"/>
              <a:t>The </a:t>
            </a:r>
            <a:r>
              <a:rPr lang="en-IN" sz="1700" dirty="0"/>
              <a:t>glass flows onto the tin surface forming a floating ribbon with perfectly smooth surfaces on both sides and of even thickness. As the glass flows along the tin bath, the temperature is gradually reduced from 1100 °C until at approximately 600 °C the sheet can be lifted from the tin onto rollers. </a:t>
            </a:r>
            <a:endParaRPr lang="en-IN" sz="1700" dirty="0" smtClean="0"/>
          </a:p>
          <a:p>
            <a:r>
              <a:rPr lang="en-IN" sz="1700" dirty="0" smtClean="0"/>
              <a:t>The </a:t>
            </a:r>
            <a:r>
              <a:rPr lang="en-IN" sz="1700" dirty="0"/>
              <a:t>glass ribbon is pulled off the bath by rollers at a controlled speed. Variation in the flow speed and roller speed enables glass sheets of varying thickness to be formed. Top rollers positioned above the molten tin may be used to control both the thickness and the width of the glass ribbon</a:t>
            </a:r>
            <a:r>
              <a:rPr lang="en-IN" sz="1700" dirty="0" smtClean="0"/>
              <a:t>.</a:t>
            </a:r>
            <a:endParaRPr lang="en-IN" sz="1700" dirty="0"/>
          </a:p>
          <a:p>
            <a:r>
              <a:rPr lang="en-IN" sz="1700" dirty="0"/>
              <a:t>Once off the bath, the glass sheet passes through a </a:t>
            </a:r>
            <a:r>
              <a:rPr lang="en-IN" sz="1700" dirty="0" err="1"/>
              <a:t>lehr</a:t>
            </a:r>
            <a:r>
              <a:rPr lang="en-IN" sz="1700" dirty="0"/>
              <a:t> kiln for approximately 100 m, where it is cooled gradually so that it anneals without strain and does not crack from the temperature change. On exiting the "cold end" of the kiln, the glass is cut by machines.</a:t>
            </a:r>
          </a:p>
        </p:txBody>
      </p:sp>
      <p:sp>
        <p:nvSpPr>
          <p:cNvPr id="5" name="Slide Number Placeholder 4"/>
          <p:cNvSpPr>
            <a:spLocks noGrp="1"/>
          </p:cNvSpPr>
          <p:nvPr>
            <p:ph type="sldNum" sz="quarter" idx="12"/>
          </p:nvPr>
        </p:nvSpPr>
        <p:spPr/>
        <p:txBody>
          <a:bodyPr/>
          <a:lstStyle/>
          <a:p>
            <a:fld id="{919B753E-A5E7-4674-ACC8-1711CA16ACCF}" type="slidenum">
              <a:rPr lang="en-IN" smtClean="0"/>
              <a:t>7</a:t>
            </a:fld>
            <a:endParaRPr lang="en-IN"/>
          </a:p>
        </p:txBody>
      </p:sp>
    </p:spTree>
    <p:extLst>
      <p:ext uri="{BB962C8B-B14F-4D97-AF65-F5344CB8AC3E}">
        <p14:creationId xmlns:p14="http://schemas.microsoft.com/office/powerpoint/2010/main" val="17522582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Float glass manufacturing</a:t>
            </a:r>
            <a:endParaRPr lang="en-IN" b="1" dirty="0"/>
          </a:p>
        </p:txBody>
      </p:sp>
      <p:sp>
        <p:nvSpPr>
          <p:cNvPr id="5" name="Slide Number Placeholder 4"/>
          <p:cNvSpPr>
            <a:spLocks noGrp="1"/>
          </p:cNvSpPr>
          <p:nvPr>
            <p:ph type="sldNum" sz="quarter" idx="12"/>
          </p:nvPr>
        </p:nvSpPr>
        <p:spPr/>
        <p:txBody>
          <a:bodyPr/>
          <a:lstStyle/>
          <a:p>
            <a:fld id="{919B753E-A5E7-4674-ACC8-1711CA16ACCF}" type="slidenum">
              <a:rPr lang="en-IN" smtClean="0"/>
              <a:t>8</a:t>
            </a:fld>
            <a:endParaRPr lang="en-IN"/>
          </a:p>
        </p:txBody>
      </p:sp>
      <p:sp>
        <p:nvSpPr>
          <p:cNvPr id="6" name="Freeform 5"/>
          <p:cNvSpPr/>
          <p:nvPr>
            <p:custDataLst>
              <p:tags r:id="rId1"/>
            </p:custDataLst>
          </p:nvPr>
        </p:nvSpPr>
        <p:spPr bwMode="auto">
          <a:xfrm>
            <a:off x="2156062" y="2901315"/>
            <a:ext cx="2887663" cy="3033154"/>
          </a:xfrm>
          <a:custGeom>
            <a:avLst/>
            <a:gdLst>
              <a:gd name="connsiteX0" fmla="*/ 2882900 w 2882900"/>
              <a:gd name="connsiteY0" fmla="*/ 673100 h 1358900"/>
              <a:gd name="connsiteX1" fmla="*/ 2882900 w 2882900"/>
              <a:gd name="connsiteY1" fmla="*/ 889000 h 1358900"/>
              <a:gd name="connsiteX2" fmla="*/ 2730500 w 2882900"/>
              <a:gd name="connsiteY2" fmla="*/ 863600 h 1358900"/>
              <a:gd name="connsiteX3" fmla="*/ 2247900 w 2882900"/>
              <a:gd name="connsiteY3" fmla="*/ 1358900 h 1358900"/>
              <a:gd name="connsiteX4" fmla="*/ 0 w 2882900"/>
              <a:gd name="connsiteY4" fmla="*/ 1358900 h 1358900"/>
              <a:gd name="connsiteX5" fmla="*/ 25400 w 2882900"/>
              <a:gd name="connsiteY5" fmla="*/ 0 h 1358900"/>
              <a:gd name="connsiteX6" fmla="*/ 215900 w 2882900"/>
              <a:gd name="connsiteY6" fmla="*/ 12700 h 1358900"/>
              <a:gd name="connsiteX7" fmla="*/ 203200 w 2882900"/>
              <a:gd name="connsiteY7" fmla="*/ 1193800 h 1358900"/>
              <a:gd name="connsiteX8" fmla="*/ 2095500 w 2882900"/>
              <a:gd name="connsiteY8" fmla="*/ 1193800 h 1358900"/>
              <a:gd name="connsiteX9" fmla="*/ 2654300 w 2882900"/>
              <a:gd name="connsiteY9" fmla="*/ 673100 h 1358900"/>
              <a:gd name="connsiteX10" fmla="*/ 2882900 w 2882900"/>
              <a:gd name="connsiteY10" fmla="*/ 673100 h 1358900"/>
              <a:gd name="connsiteX0" fmla="*/ 2882900 w 2882900"/>
              <a:gd name="connsiteY0" fmla="*/ 660400 h 1346200"/>
              <a:gd name="connsiteX1" fmla="*/ 2882900 w 2882900"/>
              <a:gd name="connsiteY1" fmla="*/ 876300 h 1346200"/>
              <a:gd name="connsiteX2" fmla="*/ 2730500 w 2882900"/>
              <a:gd name="connsiteY2" fmla="*/ 850900 h 1346200"/>
              <a:gd name="connsiteX3" fmla="*/ 2247900 w 2882900"/>
              <a:gd name="connsiteY3" fmla="*/ 1346200 h 1346200"/>
              <a:gd name="connsiteX4" fmla="*/ 0 w 2882900"/>
              <a:gd name="connsiteY4" fmla="*/ 1346200 h 1346200"/>
              <a:gd name="connsiteX5" fmla="*/ 0 w 2882900"/>
              <a:gd name="connsiteY5" fmla="*/ 25400 h 1346200"/>
              <a:gd name="connsiteX6" fmla="*/ 215900 w 2882900"/>
              <a:gd name="connsiteY6" fmla="*/ 0 h 1346200"/>
              <a:gd name="connsiteX7" fmla="*/ 203200 w 2882900"/>
              <a:gd name="connsiteY7" fmla="*/ 1181100 h 1346200"/>
              <a:gd name="connsiteX8" fmla="*/ 2095500 w 2882900"/>
              <a:gd name="connsiteY8" fmla="*/ 1181100 h 1346200"/>
              <a:gd name="connsiteX9" fmla="*/ 2654300 w 2882900"/>
              <a:gd name="connsiteY9" fmla="*/ 660400 h 1346200"/>
              <a:gd name="connsiteX10" fmla="*/ 2882900 w 2882900"/>
              <a:gd name="connsiteY10" fmla="*/ 660400 h 1346200"/>
              <a:gd name="connsiteX0" fmla="*/ 2882900 w 2882900"/>
              <a:gd name="connsiteY0" fmla="*/ 673100 h 1358900"/>
              <a:gd name="connsiteX1" fmla="*/ 2882900 w 2882900"/>
              <a:gd name="connsiteY1" fmla="*/ 889000 h 1358900"/>
              <a:gd name="connsiteX2" fmla="*/ 2730500 w 2882900"/>
              <a:gd name="connsiteY2" fmla="*/ 863600 h 1358900"/>
              <a:gd name="connsiteX3" fmla="*/ 2247900 w 2882900"/>
              <a:gd name="connsiteY3" fmla="*/ 1358900 h 1358900"/>
              <a:gd name="connsiteX4" fmla="*/ 0 w 2882900"/>
              <a:gd name="connsiteY4" fmla="*/ 1358900 h 1358900"/>
              <a:gd name="connsiteX5" fmla="*/ 0 w 2882900"/>
              <a:gd name="connsiteY5" fmla="*/ 0 h 1358900"/>
              <a:gd name="connsiteX6" fmla="*/ 215900 w 2882900"/>
              <a:gd name="connsiteY6" fmla="*/ 12700 h 1358900"/>
              <a:gd name="connsiteX7" fmla="*/ 203200 w 2882900"/>
              <a:gd name="connsiteY7" fmla="*/ 1193800 h 1358900"/>
              <a:gd name="connsiteX8" fmla="*/ 2095500 w 2882900"/>
              <a:gd name="connsiteY8" fmla="*/ 1193800 h 1358900"/>
              <a:gd name="connsiteX9" fmla="*/ 2654300 w 2882900"/>
              <a:gd name="connsiteY9" fmla="*/ 673100 h 1358900"/>
              <a:gd name="connsiteX10" fmla="*/ 2882900 w 2882900"/>
              <a:gd name="connsiteY10" fmla="*/ 673100 h 1358900"/>
              <a:gd name="connsiteX0" fmla="*/ 2882900 w 2882900"/>
              <a:gd name="connsiteY0" fmla="*/ 673100 h 1358900"/>
              <a:gd name="connsiteX1" fmla="*/ 2882900 w 2882900"/>
              <a:gd name="connsiteY1" fmla="*/ 889000 h 1358900"/>
              <a:gd name="connsiteX2" fmla="*/ 2730500 w 2882900"/>
              <a:gd name="connsiteY2" fmla="*/ 863600 h 1358900"/>
              <a:gd name="connsiteX3" fmla="*/ 2247900 w 2882900"/>
              <a:gd name="connsiteY3" fmla="*/ 1358900 h 1358900"/>
              <a:gd name="connsiteX4" fmla="*/ 0 w 2882900"/>
              <a:gd name="connsiteY4" fmla="*/ 1358900 h 1358900"/>
              <a:gd name="connsiteX5" fmla="*/ 0 w 2882900"/>
              <a:gd name="connsiteY5" fmla="*/ 0 h 1358900"/>
              <a:gd name="connsiteX6" fmla="*/ 206375 w 2882900"/>
              <a:gd name="connsiteY6" fmla="*/ 17462 h 1358900"/>
              <a:gd name="connsiteX7" fmla="*/ 203200 w 2882900"/>
              <a:gd name="connsiteY7" fmla="*/ 1193800 h 1358900"/>
              <a:gd name="connsiteX8" fmla="*/ 2095500 w 2882900"/>
              <a:gd name="connsiteY8" fmla="*/ 1193800 h 1358900"/>
              <a:gd name="connsiteX9" fmla="*/ 2654300 w 2882900"/>
              <a:gd name="connsiteY9" fmla="*/ 673100 h 1358900"/>
              <a:gd name="connsiteX10" fmla="*/ 2882900 w 2882900"/>
              <a:gd name="connsiteY10" fmla="*/ 673100 h 1358900"/>
              <a:gd name="connsiteX0" fmla="*/ 2882900 w 2882900"/>
              <a:gd name="connsiteY0" fmla="*/ 673100 h 1358900"/>
              <a:gd name="connsiteX1" fmla="*/ 2882900 w 2882900"/>
              <a:gd name="connsiteY1" fmla="*/ 889000 h 1358900"/>
              <a:gd name="connsiteX2" fmla="*/ 2730500 w 2882900"/>
              <a:gd name="connsiteY2" fmla="*/ 863600 h 1358900"/>
              <a:gd name="connsiteX3" fmla="*/ 2247900 w 2882900"/>
              <a:gd name="connsiteY3" fmla="*/ 1358900 h 1358900"/>
              <a:gd name="connsiteX4" fmla="*/ 0 w 2882900"/>
              <a:gd name="connsiteY4" fmla="*/ 1358900 h 1358900"/>
              <a:gd name="connsiteX5" fmla="*/ 0 w 2882900"/>
              <a:gd name="connsiteY5" fmla="*/ 0 h 1358900"/>
              <a:gd name="connsiteX6" fmla="*/ 211138 w 2882900"/>
              <a:gd name="connsiteY6" fmla="*/ 17462 h 1358900"/>
              <a:gd name="connsiteX7" fmla="*/ 203200 w 2882900"/>
              <a:gd name="connsiteY7" fmla="*/ 1193800 h 1358900"/>
              <a:gd name="connsiteX8" fmla="*/ 2095500 w 2882900"/>
              <a:gd name="connsiteY8" fmla="*/ 1193800 h 1358900"/>
              <a:gd name="connsiteX9" fmla="*/ 2654300 w 2882900"/>
              <a:gd name="connsiteY9" fmla="*/ 673100 h 1358900"/>
              <a:gd name="connsiteX10" fmla="*/ 2882900 w 2882900"/>
              <a:gd name="connsiteY10" fmla="*/ 673100 h 1358900"/>
              <a:gd name="connsiteX0" fmla="*/ 2882900 w 2882900"/>
              <a:gd name="connsiteY0" fmla="*/ 673100 h 1358900"/>
              <a:gd name="connsiteX1" fmla="*/ 2882900 w 2882900"/>
              <a:gd name="connsiteY1" fmla="*/ 889000 h 1358900"/>
              <a:gd name="connsiteX2" fmla="*/ 2730500 w 2882900"/>
              <a:gd name="connsiteY2" fmla="*/ 863600 h 1358900"/>
              <a:gd name="connsiteX3" fmla="*/ 2247900 w 2882900"/>
              <a:gd name="connsiteY3" fmla="*/ 1358900 h 1358900"/>
              <a:gd name="connsiteX4" fmla="*/ 0 w 2882900"/>
              <a:gd name="connsiteY4" fmla="*/ 1358900 h 1358900"/>
              <a:gd name="connsiteX5" fmla="*/ 0 w 2882900"/>
              <a:gd name="connsiteY5" fmla="*/ 0 h 1358900"/>
              <a:gd name="connsiteX6" fmla="*/ 187325 w 2882900"/>
              <a:gd name="connsiteY6" fmla="*/ 17462 h 1358900"/>
              <a:gd name="connsiteX7" fmla="*/ 203200 w 2882900"/>
              <a:gd name="connsiteY7" fmla="*/ 1193800 h 1358900"/>
              <a:gd name="connsiteX8" fmla="*/ 2095500 w 2882900"/>
              <a:gd name="connsiteY8" fmla="*/ 1193800 h 1358900"/>
              <a:gd name="connsiteX9" fmla="*/ 2654300 w 2882900"/>
              <a:gd name="connsiteY9" fmla="*/ 673100 h 1358900"/>
              <a:gd name="connsiteX10" fmla="*/ 2882900 w 2882900"/>
              <a:gd name="connsiteY10" fmla="*/ 673100 h 1358900"/>
              <a:gd name="connsiteX0" fmla="*/ 2882900 w 2882900"/>
              <a:gd name="connsiteY0" fmla="*/ 674688 h 1360488"/>
              <a:gd name="connsiteX1" fmla="*/ 2882900 w 2882900"/>
              <a:gd name="connsiteY1" fmla="*/ 890588 h 1360488"/>
              <a:gd name="connsiteX2" fmla="*/ 2730500 w 2882900"/>
              <a:gd name="connsiteY2" fmla="*/ 865188 h 1360488"/>
              <a:gd name="connsiteX3" fmla="*/ 2247900 w 2882900"/>
              <a:gd name="connsiteY3" fmla="*/ 1360488 h 1360488"/>
              <a:gd name="connsiteX4" fmla="*/ 0 w 2882900"/>
              <a:gd name="connsiteY4" fmla="*/ 1360488 h 1360488"/>
              <a:gd name="connsiteX5" fmla="*/ 0 w 2882900"/>
              <a:gd name="connsiteY5" fmla="*/ 1588 h 1360488"/>
              <a:gd name="connsiteX6" fmla="*/ 187325 w 2882900"/>
              <a:gd name="connsiteY6" fmla="*/ 0 h 1360488"/>
              <a:gd name="connsiteX7" fmla="*/ 203200 w 2882900"/>
              <a:gd name="connsiteY7" fmla="*/ 1195388 h 1360488"/>
              <a:gd name="connsiteX8" fmla="*/ 2095500 w 2882900"/>
              <a:gd name="connsiteY8" fmla="*/ 1195388 h 1360488"/>
              <a:gd name="connsiteX9" fmla="*/ 2654300 w 2882900"/>
              <a:gd name="connsiteY9" fmla="*/ 674688 h 1360488"/>
              <a:gd name="connsiteX10" fmla="*/ 2882900 w 2882900"/>
              <a:gd name="connsiteY10" fmla="*/ 674688 h 1360488"/>
              <a:gd name="connsiteX0" fmla="*/ 2882900 w 2882900"/>
              <a:gd name="connsiteY0" fmla="*/ 2310305 h 2996105"/>
              <a:gd name="connsiteX1" fmla="*/ 2882900 w 2882900"/>
              <a:gd name="connsiteY1" fmla="*/ 2526205 h 2996105"/>
              <a:gd name="connsiteX2" fmla="*/ 2730500 w 2882900"/>
              <a:gd name="connsiteY2" fmla="*/ 2500805 h 2996105"/>
              <a:gd name="connsiteX3" fmla="*/ 2247900 w 2882900"/>
              <a:gd name="connsiteY3" fmla="*/ 2996105 h 2996105"/>
              <a:gd name="connsiteX4" fmla="*/ 0 w 2882900"/>
              <a:gd name="connsiteY4" fmla="*/ 2996105 h 2996105"/>
              <a:gd name="connsiteX5" fmla="*/ 0 w 2882900"/>
              <a:gd name="connsiteY5" fmla="*/ 1637205 h 2996105"/>
              <a:gd name="connsiteX6" fmla="*/ 161568 w 2882900"/>
              <a:gd name="connsiteY6" fmla="*/ 0 h 2996105"/>
              <a:gd name="connsiteX7" fmla="*/ 203200 w 2882900"/>
              <a:gd name="connsiteY7" fmla="*/ 2831005 h 2996105"/>
              <a:gd name="connsiteX8" fmla="*/ 2095500 w 2882900"/>
              <a:gd name="connsiteY8" fmla="*/ 2831005 h 2996105"/>
              <a:gd name="connsiteX9" fmla="*/ 2654300 w 2882900"/>
              <a:gd name="connsiteY9" fmla="*/ 2310305 h 2996105"/>
              <a:gd name="connsiteX10" fmla="*/ 2882900 w 2882900"/>
              <a:gd name="connsiteY10" fmla="*/ 2310305 h 2996105"/>
              <a:gd name="connsiteX0" fmla="*/ 2882900 w 2882900"/>
              <a:gd name="connsiteY0" fmla="*/ 2347354 h 3033154"/>
              <a:gd name="connsiteX1" fmla="*/ 2882900 w 2882900"/>
              <a:gd name="connsiteY1" fmla="*/ 2563254 h 3033154"/>
              <a:gd name="connsiteX2" fmla="*/ 2730500 w 2882900"/>
              <a:gd name="connsiteY2" fmla="*/ 2537854 h 3033154"/>
              <a:gd name="connsiteX3" fmla="*/ 2247900 w 2882900"/>
              <a:gd name="connsiteY3" fmla="*/ 3033154 h 3033154"/>
              <a:gd name="connsiteX4" fmla="*/ 0 w 2882900"/>
              <a:gd name="connsiteY4" fmla="*/ 3033154 h 3033154"/>
              <a:gd name="connsiteX5" fmla="*/ 0 w 2882900"/>
              <a:gd name="connsiteY5" fmla="*/ 0 h 3033154"/>
              <a:gd name="connsiteX6" fmla="*/ 161568 w 2882900"/>
              <a:gd name="connsiteY6" fmla="*/ 37049 h 3033154"/>
              <a:gd name="connsiteX7" fmla="*/ 203200 w 2882900"/>
              <a:gd name="connsiteY7" fmla="*/ 2868054 h 3033154"/>
              <a:gd name="connsiteX8" fmla="*/ 2095500 w 2882900"/>
              <a:gd name="connsiteY8" fmla="*/ 2868054 h 3033154"/>
              <a:gd name="connsiteX9" fmla="*/ 2654300 w 2882900"/>
              <a:gd name="connsiteY9" fmla="*/ 2347354 h 3033154"/>
              <a:gd name="connsiteX10" fmla="*/ 2882900 w 2882900"/>
              <a:gd name="connsiteY10" fmla="*/ 2347354 h 3033154"/>
              <a:gd name="connsiteX0" fmla="*/ 2882900 w 2882900"/>
              <a:gd name="connsiteY0" fmla="*/ 2347354 h 3033154"/>
              <a:gd name="connsiteX1" fmla="*/ 2882900 w 2882900"/>
              <a:gd name="connsiteY1" fmla="*/ 2563254 h 3033154"/>
              <a:gd name="connsiteX2" fmla="*/ 2730500 w 2882900"/>
              <a:gd name="connsiteY2" fmla="*/ 2537854 h 3033154"/>
              <a:gd name="connsiteX3" fmla="*/ 2247900 w 2882900"/>
              <a:gd name="connsiteY3" fmla="*/ 3033154 h 3033154"/>
              <a:gd name="connsiteX4" fmla="*/ 0 w 2882900"/>
              <a:gd name="connsiteY4" fmla="*/ 3033154 h 3033154"/>
              <a:gd name="connsiteX5" fmla="*/ 0 w 2882900"/>
              <a:gd name="connsiteY5" fmla="*/ 0 h 3033154"/>
              <a:gd name="connsiteX6" fmla="*/ 200204 w 2882900"/>
              <a:gd name="connsiteY6" fmla="*/ 37049 h 3033154"/>
              <a:gd name="connsiteX7" fmla="*/ 203200 w 2882900"/>
              <a:gd name="connsiteY7" fmla="*/ 2868054 h 3033154"/>
              <a:gd name="connsiteX8" fmla="*/ 2095500 w 2882900"/>
              <a:gd name="connsiteY8" fmla="*/ 2868054 h 3033154"/>
              <a:gd name="connsiteX9" fmla="*/ 2654300 w 2882900"/>
              <a:gd name="connsiteY9" fmla="*/ 2347354 h 3033154"/>
              <a:gd name="connsiteX10" fmla="*/ 2882900 w 2882900"/>
              <a:gd name="connsiteY10" fmla="*/ 2347354 h 3033154"/>
              <a:gd name="connsiteX0" fmla="*/ 2882900 w 2882900"/>
              <a:gd name="connsiteY0" fmla="*/ 2385454 h 3033154"/>
              <a:gd name="connsiteX1" fmla="*/ 2882900 w 2882900"/>
              <a:gd name="connsiteY1" fmla="*/ 2563254 h 3033154"/>
              <a:gd name="connsiteX2" fmla="*/ 2730500 w 2882900"/>
              <a:gd name="connsiteY2" fmla="*/ 2537854 h 3033154"/>
              <a:gd name="connsiteX3" fmla="*/ 2247900 w 2882900"/>
              <a:gd name="connsiteY3" fmla="*/ 3033154 h 3033154"/>
              <a:gd name="connsiteX4" fmla="*/ 0 w 2882900"/>
              <a:gd name="connsiteY4" fmla="*/ 3033154 h 3033154"/>
              <a:gd name="connsiteX5" fmla="*/ 0 w 2882900"/>
              <a:gd name="connsiteY5" fmla="*/ 0 h 3033154"/>
              <a:gd name="connsiteX6" fmla="*/ 200204 w 2882900"/>
              <a:gd name="connsiteY6" fmla="*/ 37049 h 3033154"/>
              <a:gd name="connsiteX7" fmla="*/ 203200 w 2882900"/>
              <a:gd name="connsiteY7" fmla="*/ 2868054 h 3033154"/>
              <a:gd name="connsiteX8" fmla="*/ 2095500 w 2882900"/>
              <a:gd name="connsiteY8" fmla="*/ 2868054 h 3033154"/>
              <a:gd name="connsiteX9" fmla="*/ 2654300 w 2882900"/>
              <a:gd name="connsiteY9" fmla="*/ 2347354 h 3033154"/>
              <a:gd name="connsiteX10" fmla="*/ 2882900 w 2882900"/>
              <a:gd name="connsiteY10" fmla="*/ 2385454 h 3033154"/>
              <a:gd name="connsiteX0" fmla="*/ 2887663 w 2887663"/>
              <a:gd name="connsiteY0" fmla="*/ 2371167 h 3033154"/>
              <a:gd name="connsiteX1" fmla="*/ 2882900 w 2887663"/>
              <a:gd name="connsiteY1" fmla="*/ 2563254 h 3033154"/>
              <a:gd name="connsiteX2" fmla="*/ 2730500 w 2887663"/>
              <a:gd name="connsiteY2" fmla="*/ 2537854 h 3033154"/>
              <a:gd name="connsiteX3" fmla="*/ 2247900 w 2887663"/>
              <a:gd name="connsiteY3" fmla="*/ 3033154 h 3033154"/>
              <a:gd name="connsiteX4" fmla="*/ 0 w 2887663"/>
              <a:gd name="connsiteY4" fmla="*/ 3033154 h 3033154"/>
              <a:gd name="connsiteX5" fmla="*/ 0 w 2887663"/>
              <a:gd name="connsiteY5" fmla="*/ 0 h 3033154"/>
              <a:gd name="connsiteX6" fmla="*/ 200204 w 2887663"/>
              <a:gd name="connsiteY6" fmla="*/ 37049 h 3033154"/>
              <a:gd name="connsiteX7" fmla="*/ 203200 w 2887663"/>
              <a:gd name="connsiteY7" fmla="*/ 2868054 h 3033154"/>
              <a:gd name="connsiteX8" fmla="*/ 2095500 w 2887663"/>
              <a:gd name="connsiteY8" fmla="*/ 2868054 h 3033154"/>
              <a:gd name="connsiteX9" fmla="*/ 2654300 w 2887663"/>
              <a:gd name="connsiteY9" fmla="*/ 2347354 h 3033154"/>
              <a:gd name="connsiteX10" fmla="*/ 2887663 w 2887663"/>
              <a:gd name="connsiteY10" fmla="*/ 2371167 h 3033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87663" h="3033154">
                <a:moveTo>
                  <a:pt x="2887663" y="2371167"/>
                </a:moveTo>
                <a:lnTo>
                  <a:pt x="2882900" y="2563254"/>
                </a:lnTo>
                <a:lnTo>
                  <a:pt x="2730500" y="2537854"/>
                </a:lnTo>
                <a:lnTo>
                  <a:pt x="2247900" y="3033154"/>
                </a:lnTo>
                <a:lnTo>
                  <a:pt x="0" y="3033154"/>
                </a:lnTo>
                <a:lnTo>
                  <a:pt x="0" y="0"/>
                </a:lnTo>
                <a:lnTo>
                  <a:pt x="200204" y="37049"/>
                </a:lnTo>
                <a:cubicBezTo>
                  <a:pt x="199146" y="429162"/>
                  <a:pt x="204258" y="2475941"/>
                  <a:pt x="203200" y="2868054"/>
                </a:cubicBezTo>
                <a:lnTo>
                  <a:pt x="2095500" y="2868054"/>
                </a:lnTo>
                <a:lnTo>
                  <a:pt x="2654300" y="2347354"/>
                </a:lnTo>
                <a:lnTo>
                  <a:pt x="2887663" y="2371167"/>
                </a:lnTo>
                <a:close/>
              </a:path>
            </a:pathLst>
          </a:custGeom>
          <a:pattFill prst="pct90">
            <a:fgClr>
              <a:schemeClr val="tx1">
                <a:lumMod val="75000"/>
                <a:lumOff val="25000"/>
              </a:schemeClr>
            </a:fgClr>
            <a:bgClr>
              <a:srgbClr val="B0C417"/>
            </a:bgClr>
          </a:patt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7" name="Freeform 6"/>
          <p:cNvSpPr/>
          <p:nvPr>
            <p:custDataLst>
              <p:tags r:id="rId2"/>
            </p:custDataLst>
          </p:nvPr>
        </p:nvSpPr>
        <p:spPr bwMode="auto">
          <a:xfrm>
            <a:off x="3804726" y="3085155"/>
            <a:ext cx="1172336" cy="2087314"/>
          </a:xfrm>
          <a:custGeom>
            <a:avLst/>
            <a:gdLst>
              <a:gd name="connsiteX0" fmla="*/ 12700 w 889000"/>
              <a:gd name="connsiteY0" fmla="*/ 0 h 609600"/>
              <a:gd name="connsiteX1" fmla="*/ 889000 w 889000"/>
              <a:gd name="connsiteY1" fmla="*/ 25400 h 609600"/>
              <a:gd name="connsiteX2" fmla="*/ 889000 w 889000"/>
              <a:gd name="connsiteY2" fmla="*/ 609600 h 609600"/>
              <a:gd name="connsiteX3" fmla="*/ 723900 w 889000"/>
              <a:gd name="connsiteY3" fmla="*/ 609600 h 609600"/>
              <a:gd name="connsiteX4" fmla="*/ 647700 w 889000"/>
              <a:gd name="connsiteY4" fmla="*/ 241300 h 609600"/>
              <a:gd name="connsiteX5" fmla="*/ 0 w 889000"/>
              <a:gd name="connsiteY5" fmla="*/ 254000 h 609600"/>
              <a:gd name="connsiteX6" fmla="*/ 12700 w 889000"/>
              <a:gd name="connsiteY6" fmla="*/ 0 h 609600"/>
              <a:gd name="connsiteX0" fmla="*/ 296036 w 1172336"/>
              <a:gd name="connsiteY0" fmla="*/ 0 h 609600"/>
              <a:gd name="connsiteX1" fmla="*/ 1172336 w 1172336"/>
              <a:gd name="connsiteY1" fmla="*/ 25400 h 609600"/>
              <a:gd name="connsiteX2" fmla="*/ 1172336 w 1172336"/>
              <a:gd name="connsiteY2" fmla="*/ 609600 h 609600"/>
              <a:gd name="connsiteX3" fmla="*/ 1007236 w 1172336"/>
              <a:gd name="connsiteY3" fmla="*/ 609600 h 609600"/>
              <a:gd name="connsiteX4" fmla="*/ 931036 w 1172336"/>
              <a:gd name="connsiteY4" fmla="*/ 241300 h 609600"/>
              <a:gd name="connsiteX5" fmla="*/ 0 w 1172336"/>
              <a:gd name="connsiteY5" fmla="*/ 266878 h 609600"/>
              <a:gd name="connsiteX6" fmla="*/ 296036 w 1172336"/>
              <a:gd name="connsiteY6" fmla="*/ 0 h 609600"/>
              <a:gd name="connsiteX0" fmla="*/ 296036 w 1172336"/>
              <a:gd name="connsiteY0" fmla="*/ 0 h 609600"/>
              <a:gd name="connsiteX1" fmla="*/ 1172336 w 1172336"/>
              <a:gd name="connsiteY1" fmla="*/ 25400 h 609600"/>
              <a:gd name="connsiteX2" fmla="*/ 1172336 w 1172336"/>
              <a:gd name="connsiteY2" fmla="*/ 609600 h 609600"/>
              <a:gd name="connsiteX3" fmla="*/ 1007236 w 1172336"/>
              <a:gd name="connsiteY3" fmla="*/ 609600 h 609600"/>
              <a:gd name="connsiteX4" fmla="*/ 931036 w 1172336"/>
              <a:gd name="connsiteY4" fmla="*/ 241300 h 609600"/>
              <a:gd name="connsiteX5" fmla="*/ 0 w 1172336"/>
              <a:gd name="connsiteY5" fmla="*/ 266878 h 609600"/>
              <a:gd name="connsiteX6" fmla="*/ 178525 w 1172336"/>
              <a:gd name="connsiteY6" fmla="*/ 93508 h 609600"/>
              <a:gd name="connsiteX7" fmla="*/ 296036 w 1172336"/>
              <a:gd name="connsiteY7" fmla="*/ 0 h 609600"/>
              <a:gd name="connsiteX0" fmla="*/ 296036 w 1172336"/>
              <a:gd name="connsiteY0" fmla="*/ 1258773 h 1868373"/>
              <a:gd name="connsiteX1" fmla="*/ 1172336 w 1172336"/>
              <a:gd name="connsiteY1" fmla="*/ 1284173 h 1868373"/>
              <a:gd name="connsiteX2" fmla="*/ 1172336 w 1172336"/>
              <a:gd name="connsiteY2" fmla="*/ 1868373 h 1868373"/>
              <a:gd name="connsiteX3" fmla="*/ 1007236 w 1172336"/>
              <a:gd name="connsiteY3" fmla="*/ 1868373 h 1868373"/>
              <a:gd name="connsiteX4" fmla="*/ 931036 w 1172336"/>
              <a:gd name="connsiteY4" fmla="*/ 1500073 h 1868373"/>
              <a:gd name="connsiteX5" fmla="*/ 0 w 1172336"/>
              <a:gd name="connsiteY5" fmla="*/ 1525651 h 1868373"/>
              <a:gd name="connsiteX6" fmla="*/ 281556 w 1172336"/>
              <a:gd name="connsiteY6" fmla="*/ 0 h 1868373"/>
              <a:gd name="connsiteX7" fmla="*/ 296036 w 1172336"/>
              <a:gd name="connsiteY7" fmla="*/ 1258773 h 1868373"/>
              <a:gd name="connsiteX0" fmla="*/ 296036 w 1172336"/>
              <a:gd name="connsiteY0" fmla="*/ 1258773 h 1868373"/>
              <a:gd name="connsiteX1" fmla="*/ 1172336 w 1172336"/>
              <a:gd name="connsiteY1" fmla="*/ 1284173 h 1868373"/>
              <a:gd name="connsiteX2" fmla="*/ 1172336 w 1172336"/>
              <a:gd name="connsiteY2" fmla="*/ 1868373 h 1868373"/>
              <a:gd name="connsiteX3" fmla="*/ 1007236 w 1172336"/>
              <a:gd name="connsiteY3" fmla="*/ 1868373 h 1868373"/>
              <a:gd name="connsiteX4" fmla="*/ 931036 w 1172336"/>
              <a:gd name="connsiteY4" fmla="*/ 1500073 h 1868373"/>
              <a:gd name="connsiteX5" fmla="*/ 0 w 1172336"/>
              <a:gd name="connsiteY5" fmla="*/ 1525651 h 1868373"/>
              <a:gd name="connsiteX6" fmla="*/ 88373 w 1172336"/>
              <a:gd name="connsiteY6" fmla="*/ 901521 h 1868373"/>
              <a:gd name="connsiteX7" fmla="*/ 281556 w 1172336"/>
              <a:gd name="connsiteY7" fmla="*/ 0 h 1868373"/>
              <a:gd name="connsiteX8" fmla="*/ 296036 w 1172336"/>
              <a:gd name="connsiteY8" fmla="*/ 1258773 h 1868373"/>
              <a:gd name="connsiteX0" fmla="*/ 310694 w 1186994"/>
              <a:gd name="connsiteY0" fmla="*/ 1426199 h 2035799"/>
              <a:gd name="connsiteX1" fmla="*/ 1186994 w 1186994"/>
              <a:gd name="connsiteY1" fmla="*/ 1451599 h 2035799"/>
              <a:gd name="connsiteX2" fmla="*/ 1186994 w 1186994"/>
              <a:gd name="connsiteY2" fmla="*/ 2035799 h 2035799"/>
              <a:gd name="connsiteX3" fmla="*/ 1021894 w 1186994"/>
              <a:gd name="connsiteY3" fmla="*/ 2035799 h 2035799"/>
              <a:gd name="connsiteX4" fmla="*/ 945694 w 1186994"/>
              <a:gd name="connsiteY4" fmla="*/ 1667499 h 2035799"/>
              <a:gd name="connsiteX5" fmla="*/ 14658 w 1186994"/>
              <a:gd name="connsiteY5" fmla="*/ 1693077 h 2035799"/>
              <a:gd name="connsiteX6" fmla="*/ 0 w 1186994"/>
              <a:gd name="connsiteY6" fmla="*/ 0 h 2035799"/>
              <a:gd name="connsiteX7" fmla="*/ 296214 w 1186994"/>
              <a:gd name="connsiteY7" fmla="*/ 167426 h 2035799"/>
              <a:gd name="connsiteX8" fmla="*/ 310694 w 1186994"/>
              <a:gd name="connsiteY8" fmla="*/ 1426199 h 2035799"/>
              <a:gd name="connsiteX0" fmla="*/ 296036 w 1172336"/>
              <a:gd name="connsiteY0" fmla="*/ 1426199 h 2035799"/>
              <a:gd name="connsiteX1" fmla="*/ 1172336 w 1172336"/>
              <a:gd name="connsiteY1" fmla="*/ 1451599 h 2035799"/>
              <a:gd name="connsiteX2" fmla="*/ 1172336 w 1172336"/>
              <a:gd name="connsiteY2" fmla="*/ 2035799 h 2035799"/>
              <a:gd name="connsiteX3" fmla="*/ 1007236 w 1172336"/>
              <a:gd name="connsiteY3" fmla="*/ 2035799 h 2035799"/>
              <a:gd name="connsiteX4" fmla="*/ 931036 w 1172336"/>
              <a:gd name="connsiteY4" fmla="*/ 1667499 h 2035799"/>
              <a:gd name="connsiteX5" fmla="*/ 0 w 1172336"/>
              <a:gd name="connsiteY5" fmla="*/ 1693077 h 2035799"/>
              <a:gd name="connsiteX6" fmla="*/ 11100 w 1172336"/>
              <a:gd name="connsiteY6" fmla="*/ 0 h 2035799"/>
              <a:gd name="connsiteX7" fmla="*/ 281556 w 1172336"/>
              <a:gd name="connsiteY7" fmla="*/ 167426 h 2035799"/>
              <a:gd name="connsiteX8" fmla="*/ 296036 w 1172336"/>
              <a:gd name="connsiteY8" fmla="*/ 1426199 h 2035799"/>
              <a:gd name="connsiteX0" fmla="*/ 296036 w 1172336"/>
              <a:gd name="connsiteY0" fmla="*/ 1477714 h 2087314"/>
              <a:gd name="connsiteX1" fmla="*/ 1172336 w 1172336"/>
              <a:gd name="connsiteY1" fmla="*/ 1503114 h 2087314"/>
              <a:gd name="connsiteX2" fmla="*/ 1172336 w 1172336"/>
              <a:gd name="connsiteY2" fmla="*/ 2087314 h 2087314"/>
              <a:gd name="connsiteX3" fmla="*/ 1007236 w 1172336"/>
              <a:gd name="connsiteY3" fmla="*/ 2087314 h 2087314"/>
              <a:gd name="connsiteX4" fmla="*/ 931036 w 1172336"/>
              <a:gd name="connsiteY4" fmla="*/ 1719014 h 2087314"/>
              <a:gd name="connsiteX5" fmla="*/ 0 w 1172336"/>
              <a:gd name="connsiteY5" fmla="*/ 1744592 h 2087314"/>
              <a:gd name="connsiteX6" fmla="*/ 11100 w 1172336"/>
              <a:gd name="connsiteY6" fmla="*/ 51515 h 2087314"/>
              <a:gd name="connsiteX7" fmla="*/ 281556 w 1172336"/>
              <a:gd name="connsiteY7" fmla="*/ 0 h 2087314"/>
              <a:gd name="connsiteX8" fmla="*/ 296036 w 1172336"/>
              <a:gd name="connsiteY8" fmla="*/ 1477714 h 2087314"/>
              <a:gd name="connsiteX0" fmla="*/ 296036 w 1172336"/>
              <a:gd name="connsiteY0" fmla="*/ 1477714 h 2087314"/>
              <a:gd name="connsiteX1" fmla="*/ 1172336 w 1172336"/>
              <a:gd name="connsiteY1" fmla="*/ 1477357 h 2087314"/>
              <a:gd name="connsiteX2" fmla="*/ 1172336 w 1172336"/>
              <a:gd name="connsiteY2" fmla="*/ 2087314 h 2087314"/>
              <a:gd name="connsiteX3" fmla="*/ 1007236 w 1172336"/>
              <a:gd name="connsiteY3" fmla="*/ 2087314 h 2087314"/>
              <a:gd name="connsiteX4" fmla="*/ 931036 w 1172336"/>
              <a:gd name="connsiteY4" fmla="*/ 1719014 h 2087314"/>
              <a:gd name="connsiteX5" fmla="*/ 0 w 1172336"/>
              <a:gd name="connsiteY5" fmla="*/ 1744592 h 2087314"/>
              <a:gd name="connsiteX6" fmla="*/ 11100 w 1172336"/>
              <a:gd name="connsiteY6" fmla="*/ 51515 h 2087314"/>
              <a:gd name="connsiteX7" fmla="*/ 281556 w 1172336"/>
              <a:gd name="connsiteY7" fmla="*/ 0 h 2087314"/>
              <a:gd name="connsiteX8" fmla="*/ 296036 w 1172336"/>
              <a:gd name="connsiteY8" fmla="*/ 1477714 h 2087314"/>
              <a:gd name="connsiteX0" fmla="*/ 296036 w 1172336"/>
              <a:gd name="connsiteY0" fmla="*/ 1477714 h 2087314"/>
              <a:gd name="connsiteX1" fmla="*/ 1172336 w 1172336"/>
              <a:gd name="connsiteY1" fmla="*/ 1477357 h 2087314"/>
              <a:gd name="connsiteX2" fmla="*/ 1172336 w 1172336"/>
              <a:gd name="connsiteY2" fmla="*/ 2087314 h 2087314"/>
              <a:gd name="connsiteX3" fmla="*/ 1007236 w 1172336"/>
              <a:gd name="connsiteY3" fmla="*/ 2087314 h 2087314"/>
              <a:gd name="connsiteX4" fmla="*/ 931036 w 1172336"/>
              <a:gd name="connsiteY4" fmla="*/ 1731893 h 2087314"/>
              <a:gd name="connsiteX5" fmla="*/ 0 w 1172336"/>
              <a:gd name="connsiteY5" fmla="*/ 1744592 h 2087314"/>
              <a:gd name="connsiteX6" fmla="*/ 11100 w 1172336"/>
              <a:gd name="connsiteY6" fmla="*/ 51515 h 2087314"/>
              <a:gd name="connsiteX7" fmla="*/ 281556 w 1172336"/>
              <a:gd name="connsiteY7" fmla="*/ 0 h 2087314"/>
              <a:gd name="connsiteX8" fmla="*/ 296036 w 1172336"/>
              <a:gd name="connsiteY8" fmla="*/ 1477714 h 2087314"/>
              <a:gd name="connsiteX0" fmla="*/ 296036 w 1172336"/>
              <a:gd name="connsiteY0" fmla="*/ 1477714 h 2087314"/>
              <a:gd name="connsiteX1" fmla="*/ 1172336 w 1172336"/>
              <a:gd name="connsiteY1" fmla="*/ 1477357 h 2087314"/>
              <a:gd name="connsiteX2" fmla="*/ 1172336 w 1172336"/>
              <a:gd name="connsiteY2" fmla="*/ 2087314 h 2087314"/>
              <a:gd name="connsiteX3" fmla="*/ 1007236 w 1172336"/>
              <a:gd name="connsiteY3" fmla="*/ 2087314 h 2087314"/>
              <a:gd name="connsiteX4" fmla="*/ 931036 w 1172336"/>
              <a:gd name="connsiteY4" fmla="*/ 1757651 h 2087314"/>
              <a:gd name="connsiteX5" fmla="*/ 0 w 1172336"/>
              <a:gd name="connsiteY5" fmla="*/ 1744592 h 2087314"/>
              <a:gd name="connsiteX6" fmla="*/ 11100 w 1172336"/>
              <a:gd name="connsiteY6" fmla="*/ 51515 h 2087314"/>
              <a:gd name="connsiteX7" fmla="*/ 281556 w 1172336"/>
              <a:gd name="connsiteY7" fmla="*/ 0 h 2087314"/>
              <a:gd name="connsiteX8" fmla="*/ 296036 w 1172336"/>
              <a:gd name="connsiteY8" fmla="*/ 1477714 h 2087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2336" h="2087314">
                <a:moveTo>
                  <a:pt x="296036" y="1477714"/>
                </a:moveTo>
                <a:lnTo>
                  <a:pt x="1172336" y="1477357"/>
                </a:lnTo>
                <a:lnTo>
                  <a:pt x="1172336" y="2087314"/>
                </a:lnTo>
                <a:lnTo>
                  <a:pt x="1007236" y="2087314"/>
                </a:lnTo>
                <a:lnTo>
                  <a:pt x="931036" y="1757651"/>
                </a:lnTo>
                <a:lnTo>
                  <a:pt x="0" y="1744592"/>
                </a:lnTo>
                <a:lnTo>
                  <a:pt x="11100" y="51515"/>
                </a:lnTo>
                <a:lnTo>
                  <a:pt x="281556" y="0"/>
                </a:lnTo>
                <a:lnTo>
                  <a:pt x="296036" y="1477714"/>
                </a:lnTo>
                <a:close/>
              </a:path>
            </a:pathLst>
          </a:custGeom>
          <a:pattFill prst="pct90">
            <a:fgClr>
              <a:schemeClr val="tx1">
                <a:lumMod val="75000"/>
                <a:lumOff val="25000"/>
              </a:schemeClr>
            </a:fgClr>
            <a:bgClr>
              <a:srgbClr val="B0C417"/>
            </a:bgClr>
          </a:patt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endParaRPr lang="en-US"/>
          </a:p>
        </p:txBody>
      </p:sp>
      <p:sp>
        <p:nvSpPr>
          <p:cNvPr id="8" name="Freeform 7"/>
          <p:cNvSpPr/>
          <p:nvPr>
            <p:custDataLst>
              <p:tags r:id="rId3"/>
            </p:custDataLst>
          </p:nvPr>
        </p:nvSpPr>
        <p:spPr bwMode="auto">
          <a:xfrm>
            <a:off x="5031026" y="5286770"/>
            <a:ext cx="2762250" cy="673100"/>
          </a:xfrm>
          <a:custGeom>
            <a:avLst/>
            <a:gdLst>
              <a:gd name="connsiteX0" fmla="*/ 0 w 2743200"/>
              <a:gd name="connsiteY0" fmla="*/ 0 h 673100"/>
              <a:gd name="connsiteX1" fmla="*/ 12700 w 2743200"/>
              <a:gd name="connsiteY1" fmla="*/ 673100 h 673100"/>
              <a:gd name="connsiteX2" fmla="*/ 2743200 w 2743200"/>
              <a:gd name="connsiteY2" fmla="*/ 673100 h 673100"/>
              <a:gd name="connsiteX3" fmla="*/ 2730500 w 2743200"/>
              <a:gd name="connsiteY3" fmla="*/ 50800 h 673100"/>
              <a:gd name="connsiteX4" fmla="*/ 2590800 w 2743200"/>
              <a:gd name="connsiteY4" fmla="*/ 50800 h 673100"/>
              <a:gd name="connsiteX5" fmla="*/ 2616200 w 2743200"/>
              <a:gd name="connsiteY5" fmla="*/ 457200 h 673100"/>
              <a:gd name="connsiteX6" fmla="*/ 215900 w 2743200"/>
              <a:gd name="connsiteY6" fmla="*/ 406400 h 673100"/>
              <a:gd name="connsiteX7" fmla="*/ 241300 w 2743200"/>
              <a:gd name="connsiteY7" fmla="*/ 63500 h 673100"/>
              <a:gd name="connsiteX8" fmla="*/ 50800 w 2743200"/>
              <a:gd name="connsiteY8" fmla="*/ 0 h 673100"/>
              <a:gd name="connsiteX9" fmla="*/ 0 w 2743200"/>
              <a:gd name="connsiteY9" fmla="*/ 0 h 673100"/>
              <a:gd name="connsiteX0" fmla="*/ 0 w 2743200"/>
              <a:gd name="connsiteY0" fmla="*/ 0 h 673100"/>
              <a:gd name="connsiteX1" fmla="*/ 12700 w 2743200"/>
              <a:gd name="connsiteY1" fmla="*/ 673100 h 673100"/>
              <a:gd name="connsiteX2" fmla="*/ 2743200 w 2743200"/>
              <a:gd name="connsiteY2" fmla="*/ 673100 h 673100"/>
              <a:gd name="connsiteX3" fmla="*/ 2730500 w 2743200"/>
              <a:gd name="connsiteY3" fmla="*/ 50800 h 673100"/>
              <a:gd name="connsiteX4" fmla="*/ 2590800 w 2743200"/>
              <a:gd name="connsiteY4" fmla="*/ 50800 h 673100"/>
              <a:gd name="connsiteX5" fmla="*/ 2616200 w 2743200"/>
              <a:gd name="connsiteY5" fmla="*/ 457200 h 673100"/>
              <a:gd name="connsiteX6" fmla="*/ 239713 w 2743200"/>
              <a:gd name="connsiteY6" fmla="*/ 468313 h 673100"/>
              <a:gd name="connsiteX7" fmla="*/ 241300 w 2743200"/>
              <a:gd name="connsiteY7" fmla="*/ 63500 h 673100"/>
              <a:gd name="connsiteX8" fmla="*/ 50800 w 2743200"/>
              <a:gd name="connsiteY8" fmla="*/ 0 h 673100"/>
              <a:gd name="connsiteX9" fmla="*/ 0 w 2743200"/>
              <a:gd name="connsiteY9" fmla="*/ 0 h 673100"/>
              <a:gd name="connsiteX0" fmla="*/ 0 w 2743200"/>
              <a:gd name="connsiteY0" fmla="*/ 0 h 673100"/>
              <a:gd name="connsiteX1" fmla="*/ 12700 w 2743200"/>
              <a:gd name="connsiteY1" fmla="*/ 673100 h 673100"/>
              <a:gd name="connsiteX2" fmla="*/ 2743200 w 2743200"/>
              <a:gd name="connsiteY2" fmla="*/ 673100 h 673100"/>
              <a:gd name="connsiteX3" fmla="*/ 2730500 w 2743200"/>
              <a:gd name="connsiteY3" fmla="*/ 50800 h 673100"/>
              <a:gd name="connsiteX4" fmla="*/ 2590800 w 2743200"/>
              <a:gd name="connsiteY4" fmla="*/ 50800 h 673100"/>
              <a:gd name="connsiteX5" fmla="*/ 2582863 w 2743200"/>
              <a:gd name="connsiteY5" fmla="*/ 461962 h 673100"/>
              <a:gd name="connsiteX6" fmla="*/ 239713 w 2743200"/>
              <a:gd name="connsiteY6" fmla="*/ 468313 h 673100"/>
              <a:gd name="connsiteX7" fmla="*/ 241300 w 2743200"/>
              <a:gd name="connsiteY7" fmla="*/ 63500 h 673100"/>
              <a:gd name="connsiteX8" fmla="*/ 50800 w 2743200"/>
              <a:gd name="connsiteY8" fmla="*/ 0 h 673100"/>
              <a:gd name="connsiteX9" fmla="*/ 0 w 2743200"/>
              <a:gd name="connsiteY9" fmla="*/ 0 h 673100"/>
              <a:gd name="connsiteX0" fmla="*/ 0 w 2743200"/>
              <a:gd name="connsiteY0" fmla="*/ 0 h 673100"/>
              <a:gd name="connsiteX1" fmla="*/ 12700 w 2743200"/>
              <a:gd name="connsiteY1" fmla="*/ 673100 h 673100"/>
              <a:gd name="connsiteX2" fmla="*/ 2743200 w 2743200"/>
              <a:gd name="connsiteY2" fmla="*/ 673100 h 673100"/>
              <a:gd name="connsiteX3" fmla="*/ 2730500 w 2743200"/>
              <a:gd name="connsiteY3" fmla="*/ 50800 h 673100"/>
              <a:gd name="connsiteX4" fmla="*/ 2590800 w 2743200"/>
              <a:gd name="connsiteY4" fmla="*/ 50800 h 673100"/>
              <a:gd name="connsiteX5" fmla="*/ 2592388 w 2743200"/>
              <a:gd name="connsiteY5" fmla="*/ 481012 h 673100"/>
              <a:gd name="connsiteX6" fmla="*/ 239713 w 2743200"/>
              <a:gd name="connsiteY6" fmla="*/ 468313 h 673100"/>
              <a:gd name="connsiteX7" fmla="*/ 241300 w 2743200"/>
              <a:gd name="connsiteY7" fmla="*/ 63500 h 673100"/>
              <a:gd name="connsiteX8" fmla="*/ 50800 w 2743200"/>
              <a:gd name="connsiteY8" fmla="*/ 0 h 673100"/>
              <a:gd name="connsiteX9" fmla="*/ 0 w 2743200"/>
              <a:gd name="connsiteY9" fmla="*/ 0 h 673100"/>
              <a:gd name="connsiteX0" fmla="*/ 0 w 2743200"/>
              <a:gd name="connsiteY0" fmla="*/ 0 h 673100"/>
              <a:gd name="connsiteX1" fmla="*/ 12700 w 2743200"/>
              <a:gd name="connsiteY1" fmla="*/ 673100 h 673100"/>
              <a:gd name="connsiteX2" fmla="*/ 2743200 w 2743200"/>
              <a:gd name="connsiteY2" fmla="*/ 673100 h 673100"/>
              <a:gd name="connsiteX3" fmla="*/ 2730500 w 2743200"/>
              <a:gd name="connsiteY3" fmla="*/ 50800 h 673100"/>
              <a:gd name="connsiteX4" fmla="*/ 2590800 w 2743200"/>
              <a:gd name="connsiteY4" fmla="*/ 50800 h 673100"/>
              <a:gd name="connsiteX5" fmla="*/ 2597150 w 2743200"/>
              <a:gd name="connsiteY5" fmla="*/ 500062 h 673100"/>
              <a:gd name="connsiteX6" fmla="*/ 239713 w 2743200"/>
              <a:gd name="connsiteY6" fmla="*/ 468313 h 673100"/>
              <a:gd name="connsiteX7" fmla="*/ 241300 w 2743200"/>
              <a:gd name="connsiteY7" fmla="*/ 63500 h 673100"/>
              <a:gd name="connsiteX8" fmla="*/ 50800 w 2743200"/>
              <a:gd name="connsiteY8" fmla="*/ 0 h 673100"/>
              <a:gd name="connsiteX9" fmla="*/ 0 w 2743200"/>
              <a:gd name="connsiteY9" fmla="*/ 0 h 673100"/>
              <a:gd name="connsiteX0" fmla="*/ 0 w 2743200"/>
              <a:gd name="connsiteY0" fmla="*/ 0 h 673100"/>
              <a:gd name="connsiteX1" fmla="*/ 12700 w 2743200"/>
              <a:gd name="connsiteY1" fmla="*/ 673100 h 673100"/>
              <a:gd name="connsiteX2" fmla="*/ 2743200 w 2743200"/>
              <a:gd name="connsiteY2" fmla="*/ 673100 h 673100"/>
              <a:gd name="connsiteX3" fmla="*/ 2730500 w 2743200"/>
              <a:gd name="connsiteY3" fmla="*/ 50800 h 673100"/>
              <a:gd name="connsiteX4" fmla="*/ 2590800 w 2743200"/>
              <a:gd name="connsiteY4" fmla="*/ 50800 h 673100"/>
              <a:gd name="connsiteX5" fmla="*/ 2587625 w 2743200"/>
              <a:gd name="connsiteY5" fmla="*/ 476250 h 673100"/>
              <a:gd name="connsiteX6" fmla="*/ 239713 w 2743200"/>
              <a:gd name="connsiteY6" fmla="*/ 468313 h 673100"/>
              <a:gd name="connsiteX7" fmla="*/ 241300 w 2743200"/>
              <a:gd name="connsiteY7" fmla="*/ 63500 h 673100"/>
              <a:gd name="connsiteX8" fmla="*/ 50800 w 2743200"/>
              <a:gd name="connsiteY8" fmla="*/ 0 h 673100"/>
              <a:gd name="connsiteX9" fmla="*/ 0 w 2743200"/>
              <a:gd name="connsiteY9" fmla="*/ 0 h 673100"/>
              <a:gd name="connsiteX0" fmla="*/ 0 w 2743200"/>
              <a:gd name="connsiteY0" fmla="*/ 0 h 673100"/>
              <a:gd name="connsiteX1" fmla="*/ 12700 w 2743200"/>
              <a:gd name="connsiteY1" fmla="*/ 673100 h 673100"/>
              <a:gd name="connsiteX2" fmla="*/ 2743200 w 2743200"/>
              <a:gd name="connsiteY2" fmla="*/ 673100 h 673100"/>
              <a:gd name="connsiteX3" fmla="*/ 2730500 w 2743200"/>
              <a:gd name="connsiteY3" fmla="*/ 50800 h 673100"/>
              <a:gd name="connsiteX4" fmla="*/ 2590800 w 2743200"/>
              <a:gd name="connsiteY4" fmla="*/ 50800 h 673100"/>
              <a:gd name="connsiteX5" fmla="*/ 2587625 w 2743200"/>
              <a:gd name="connsiteY5" fmla="*/ 490537 h 673100"/>
              <a:gd name="connsiteX6" fmla="*/ 239713 w 2743200"/>
              <a:gd name="connsiteY6" fmla="*/ 468313 h 673100"/>
              <a:gd name="connsiteX7" fmla="*/ 241300 w 2743200"/>
              <a:gd name="connsiteY7" fmla="*/ 63500 h 673100"/>
              <a:gd name="connsiteX8" fmla="*/ 50800 w 2743200"/>
              <a:gd name="connsiteY8" fmla="*/ 0 h 673100"/>
              <a:gd name="connsiteX9" fmla="*/ 0 w 2743200"/>
              <a:gd name="connsiteY9" fmla="*/ 0 h 673100"/>
              <a:gd name="connsiteX0" fmla="*/ 0 w 2743200"/>
              <a:gd name="connsiteY0" fmla="*/ 0 h 673100"/>
              <a:gd name="connsiteX1" fmla="*/ 12700 w 2743200"/>
              <a:gd name="connsiteY1" fmla="*/ 673100 h 673100"/>
              <a:gd name="connsiteX2" fmla="*/ 2743200 w 2743200"/>
              <a:gd name="connsiteY2" fmla="*/ 673100 h 673100"/>
              <a:gd name="connsiteX3" fmla="*/ 2730500 w 2743200"/>
              <a:gd name="connsiteY3" fmla="*/ 50800 h 673100"/>
              <a:gd name="connsiteX4" fmla="*/ 2590800 w 2743200"/>
              <a:gd name="connsiteY4" fmla="*/ 50800 h 673100"/>
              <a:gd name="connsiteX5" fmla="*/ 2578100 w 2743200"/>
              <a:gd name="connsiteY5" fmla="*/ 466725 h 673100"/>
              <a:gd name="connsiteX6" fmla="*/ 239713 w 2743200"/>
              <a:gd name="connsiteY6" fmla="*/ 468313 h 673100"/>
              <a:gd name="connsiteX7" fmla="*/ 241300 w 2743200"/>
              <a:gd name="connsiteY7" fmla="*/ 63500 h 673100"/>
              <a:gd name="connsiteX8" fmla="*/ 50800 w 2743200"/>
              <a:gd name="connsiteY8" fmla="*/ 0 h 673100"/>
              <a:gd name="connsiteX9" fmla="*/ 0 w 2743200"/>
              <a:gd name="connsiteY9" fmla="*/ 0 h 673100"/>
              <a:gd name="connsiteX0" fmla="*/ 0 w 2763838"/>
              <a:gd name="connsiteY0" fmla="*/ 0 h 673100"/>
              <a:gd name="connsiteX1" fmla="*/ 12700 w 2763838"/>
              <a:gd name="connsiteY1" fmla="*/ 673100 h 673100"/>
              <a:gd name="connsiteX2" fmla="*/ 2743200 w 2763838"/>
              <a:gd name="connsiteY2" fmla="*/ 673100 h 673100"/>
              <a:gd name="connsiteX3" fmla="*/ 2763838 w 2763838"/>
              <a:gd name="connsiteY3" fmla="*/ 50800 h 673100"/>
              <a:gd name="connsiteX4" fmla="*/ 2590800 w 2763838"/>
              <a:gd name="connsiteY4" fmla="*/ 50800 h 673100"/>
              <a:gd name="connsiteX5" fmla="*/ 2578100 w 2763838"/>
              <a:gd name="connsiteY5" fmla="*/ 466725 h 673100"/>
              <a:gd name="connsiteX6" fmla="*/ 239713 w 2763838"/>
              <a:gd name="connsiteY6" fmla="*/ 468313 h 673100"/>
              <a:gd name="connsiteX7" fmla="*/ 241300 w 2763838"/>
              <a:gd name="connsiteY7" fmla="*/ 63500 h 673100"/>
              <a:gd name="connsiteX8" fmla="*/ 50800 w 2763838"/>
              <a:gd name="connsiteY8" fmla="*/ 0 h 673100"/>
              <a:gd name="connsiteX9" fmla="*/ 0 w 2763838"/>
              <a:gd name="connsiteY9" fmla="*/ 0 h 673100"/>
              <a:gd name="connsiteX0" fmla="*/ 0 w 2767013"/>
              <a:gd name="connsiteY0" fmla="*/ 0 h 673100"/>
              <a:gd name="connsiteX1" fmla="*/ 12700 w 2767013"/>
              <a:gd name="connsiteY1" fmla="*/ 673100 h 673100"/>
              <a:gd name="connsiteX2" fmla="*/ 2767013 w 2767013"/>
              <a:gd name="connsiteY2" fmla="*/ 673100 h 673100"/>
              <a:gd name="connsiteX3" fmla="*/ 2763838 w 2767013"/>
              <a:gd name="connsiteY3" fmla="*/ 50800 h 673100"/>
              <a:gd name="connsiteX4" fmla="*/ 2590800 w 2767013"/>
              <a:gd name="connsiteY4" fmla="*/ 50800 h 673100"/>
              <a:gd name="connsiteX5" fmla="*/ 2578100 w 2767013"/>
              <a:gd name="connsiteY5" fmla="*/ 466725 h 673100"/>
              <a:gd name="connsiteX6" fmla="*/ 239713 w 2767013"/>
              <a:gd name="connsiteY6" fmla="*/ 468313 h 673100"/>
              <a:gd name="connsiteX7" fmla="*/ 241300 w 2767013"/>
              <a:gd name="connsiteY7" fmla="*/ 63500 h 673100"/>
              <a:gd name="connsiteX8" fmla="*/ 50800 w 2767013"/>
              <a:gd name="connsiteY8" fmla="*/ 0 h 673100"/>
              <a:gd name="connsiteX9" fmla="*/ 0 w 2767013"/>
              <a:gd name="connsiteY9" fmla="*/ 0 h 673100"/>
              <a:gd name="connsiteX0" fmla="*/ 0 w 2767013"/>
              <a:gd name="connsiteY0" fmla="*/ 0 h 673100"/>
              <a:gd name="connsiteX1" fmla="*/ 12700 w 2767013"/>
              <a:gd name="connsiteY1" fmla="*/ 673100 h 673100"/>
              <a:gd name="connsiteX2" fmla="*/ 2767013 w 2767013"/>
              <a:gd name="connsiteY2" fmla="*/ 673100 h 673100"/>
              <a:gd name="connsiteX3" fmla="*/ 2763838 w 2767013"/>
              <a:gd name="connsiteY3" fmla="*/ 50800 h 673100"/>
              <a:gd name="connsiteX4" fmla="*/ 2590800 w 2767013"/>
              <a:gd name="connsiteY4" fmla="*/ 65087 h 673100"/>
              <a:gd name="connsiteX5" fmla="*/ 2578100 w 2767013"/>
              <a:gd name="connsiteY5" fmla="*/ 466725 h 673100"/>
              <a:gd name="connsiteX6" fmla="*/ 239713 w 2767013"/>
              <a:gd name="connsiteY6" fmla="*/ 468313 h 673100"/>
              <a:gd name="connsiteX7" fmla="*/ 241300 w 2767013"/>
              <a:gd name="connsiteY7" fmla="*/ 63500 h 673100"/>
              <a:gd name="connsiteX8" fmla="*/ 50800 w 2767013"/>
              <a:gd name="connsiteY8" fmla="*/ 0 h 673100"/>
              <a:gd name="connsiteX9" fmla="*/ 0 w 2767013"/>
              <a:gd name="connsiteY9" fmla="*/ 0 h 673100"/>
              <a:gd name="connsiteX0" fmla="*/ 0 w 2767013"/>
              <a:gd name="connsiteY0" fmla="*/ 0 h 673100"/>
              <a:gd name="connsiteX1" fmla="*/ 12700 w 2767013"/>
              <a:gd name="connsiteY1" fmla="*/ 673100 h 673100"/>
              <a:gd name="connsiteX2" fmla="*/ 2767013 w 2767013"/>
              <a:gd name="connsiteY2" fmla="*/ 673100 h 673100"/>
              <a:gd name="connsiteX3" fmla="*/ 2763838 w 2767013"/>
              <a:gd name="connsiteY3" fmla="*/ 74612 h 673100"/>
              <a:gd name="connsiteX4" fmla="*/ 2590800 w 2767013"/>
              <a:gd name="connsiteY4" fmla="*/ 65087 h 673100"/>
              <a:gd name="connsiteX5" fmla="*/ 2578100 w 2767013"/>
              <a:gd name="connsiteY5" fmla="*/ 466725 h 673100"/>
              <a:gd name="connsiteX6" fmla="*/ 239713 w 2767013"/>
              <a:gd name="connsiteY6" fmla="*/ 468313 h 673100"/>
              <a:gd name="connsiteX7" fmla="*/ 241300 w 2767013"/>
              <a:gd name="connsiteY7" fmla="*/ 63500 h 673100"/>
              <a:gd name="connsiteX8" fmla="*/ 50800 w 2767013"/>
              <a:gd name="connsiteY8" fmla="*/ 0 h 673100"/>
              <a:gd name="connsiteX9" fmla="*/ 0 w 2767013"/>
              <a:gd name="connsiteY9" fmla="*/ 0 h 673100"/>
              <a:gd name="connsiteX0" fmla="*/ 0 w 2767013"/>
              <a:gd name="connsiteY0" fmla="*/ 0 h 673100"/>
              <a:gd name="connsiteX1" fmla="*/ 12700 w 2767013"/>
              <a:gd name="connsiteY1" fmla="*/ 673100 h 673100"/>
              <a:gd name="connsiteX2" fmla="*/ 2767013 w 2767013"/>
              <a:gd name="connsiteY2" fmla="*/ 673100 h 673100"/>
              <a:gd name="connsiteX3" fmla="*/ 2763838 w 2767013"/>
              <a:gd name="connsiteY3" fmla="*/ 74612 h 673100"/>
              <a:gd name="connsiteX4" fmla="*/ 2576513 w 2767013"/>
              <a:gd name="connsiteY4" fmla="*/ 65087 h 673100"/>
              <a:gd name="connsiteX5" fmla="*/ 2578100 w 2767013"/>
              <a:gd name="connsiteY5" fmla="*/ 466725 h 673100"/>
              <a:gd name="connsiteX6" fmla="*/ 239713 w 2767013"/>
              <a:gd name="connsiteY6" fmla="*/ 468313 h 673100"/>
              <a:gd name="connsiteX7" fmla="*/ 241300 w 2767013"/>
              <a:gd name="connsiteY7" fmla="*/ 63500 h 673100"/>
              <a:gd name="connsiteX8" fmla="*/ 50800 w 2767013"/>
              <a:gd name="connsiteY8" fmla="*/ 0 h 673100"/>
              <a:gd name="connsiteX9" fmla="*/ 0 w 2767013"/>
              <a:gd name="connsiteY9" fmla="*/ 0 h 673100"/>
              <a:gd name="connsiteX0" fmla="*/ 0 w 2767013"/>
              <a:gd name="connsiteY0" fmla="*/ 0 h 673100"/>
              <a:gd name="connsiteX1" fmla="*/ 12700 w 2767013"/>
              <a:gd name="connsiteY1" fmla="*/ 673100 h 673100"/>
              <a:gd name="connsiteX2" fmla="*/ 2767013 w 2767013"/>
              <a:gd name="connsiteY2" fmla="*/ 673100 h 673100"/>
              <a:gd name="connsiteX3" fmla="*/ 2763838 w 2767013"/>
              <a:gd name="connsiteY3" fmla="*/ 74612 h 673100"/>
              <a:gd name="connsiteX4" fmla="*/ 2586038 w 2767013"/>
              <a:gd name="connsiteY4" fmla="*/ 84137 h 673100"/>
              <a:gd name="connsiteX5" fmla="*/ 2578100 w 2767013"/>
              <a:gd name="connsiteY5" fmla="*/ 466725 h 673100"/>
              <a:gd name="connsiteX6" fmla="*/ 239713 w 2767013"/>
              <a:gd name="connsiteY6" fmla="*/ 468313 h 673100"/>
              <a:gd name="connsiteX7" fmla="*/ 241300 w 2767013"/>
              <a:gd name="connsiteY7" fmla="*/ 63500 h 673100"/>
              <a:gd name="connsiteX8" fmla="*/ 50800 w 2767013"/>
              <a:gd name="connsiteY8" fmla="*/ 0 h 673100"/>
              <a:gd name="connsiteX9" fmla="*/ 0 w 2767013"/>
              <a:gd name="connsiteY9" fmla="*/ 0 h 673100"/>
              <a:gd name="connsiteX0" fmla="*/ 0 w 2767013"/>
              <a:gd name="connsiteY0" fmla="*/ 0 h 673100"/>
              <a:gd name="connsiteX1" fmla="*/ 12700 w 2767013"/>
              <a:gd name="connsiteY1" fmla="*/ 673100 h 673100"/>
              <a:gd name="connsiteX2" fmla="*/ 2767013 w 2767013"/>
              <a:gd name="connsiteY2" fmla="*/ 673100 h 673100"/>
              <a:gd name="connsiteX3" fmla="*/ 2763838 w 2767013"/>
              <a:gd name="connsiteY3" fmla="*/ 74612 h 673100"/>
              <a:gd name="connsiteX4" fmla="*/ 2576513 w 2767013"/>
              <a:gd name="connsiteY4" fmla="*/ 79374 h 673100"/>
              <a:gd name="connsiteX5" fmla="*/ 2578100 w 2767013"/>
              <a:gd name="connsiteY5" fmla="*/ 466725 h 673100"/>
              <a:gd name="connsiteX6" fmla="*/ 239713 w 2767013"/>
              <a:gd name="connsiteY6" fmla="*/ 468313 h 673100"/>
              <a:gd name="connsiteX7" fmla="*/ 241300 w 2767013"/>
              <a:gd name="connsiteY7" fmla="*/ 63500 h 673100"/>
              <a:gd name="connsiteX8" fmla="*/ 50800 w 2767013"/>
              <a:gd name="connsiteY8" fmla="*/ 0 h 673100"/>
              <a:gd name="connsiteX9" fmla="*/ 0 w 2767013"/>
              <a:gd name="connsiteY9" fmla="*/ 0 h 673100"/>
              <a:gd name="connsiteX0" fmla="*/ 0 w 2767013"/>
              <a:gd name="connsiteY0" fmla="*/ 0 h 673100"/>
              <a:gd name="connsiteX1" fmla="*/ 12700 w 2767013"/>
              <a:gd name="connsiteY1" fmla="*/ 673100 h 673100"/>
              <a:gd name="connsiteX2" fmla="*/ 2767013 w 2767013"/>
              <a:gd name="connsiteY2" fmla="*/ 673100 h 673100"/>
              <a:gd name="connsiteX3" fmla="*/ 2763838 w 2767013"/>
              <a:gd name="connsiteY3" fmla="*/ 74612 h 673100"/>
              <a:gd name="connsiteX4" fmla="*/ 2576513 w 2767013"/>
              <a:gd name="connsiteY4" fmla="*/ 60324 h 673100"/>
              <a:gd name="connsiteX5" fmla="*/ 2578100 w 2767013"/>
              <a:gd name="connsiteY5" fmla="*/ 466725 h 673100"/>
              <a:gd name="connsiteX6" fmla="*/ 239713 w 2767013"/>
              <a:gd name="connsiteY6" fmla="*/ 468313 h 673100"/>
              <a:gd name="connsiteX7" fmla="*/ 241300 w 2767013"/>
              <a:gd name="connsiteY7" fmla="*/ 63500 h 673100"/>
              <a:gd name="connsiteX8" fmla="*/ 50800 w 2767013"/>
              <a:gd name="connsiteY8" fmla="*/ 0 h 673100"/>
              <a:gd name="connsiteX9" fmla="*/ 0 w 2767013"/>
              <a:gd name="connsiteY9" fmla="*/ 0 h 673100"/>
              <a:gd name="connsiteX0" fmla="*/ 0 w 2767013"/>
              <a:gd name="connsiteY0" fmla="*/ 0 h 673100"/>
              <a:gd name="connsiteX1" fmla="*/ 12700 w 2767013"/>
              <a:gd name="connsiteY1" fmla="*/ 673100 h 673100"/>
              <a:gd name="connsiteX2" fmla="*/ 2767013 w 2767013"/>
              <a:gd name="connsiteY2" fmla="*/ 673100 h 673100"/>
              <a:gd name="connsiteX3" fmla="*/ 2763838 w 2767013"/>
              <a:gd name="connsiteY3" fmla="*/ 60324 h 673100"/>
              <a:gd name="connsiteX4" fmla="*/ 2576513 w 2767013"/>
              <a:gd name="connsiteY4" fmla="*/ 60324 h 673100"/>
              <a:gd name="connsiteX5" fmla="*/ 2578100 w 2767013"/>
              <a:gd name="connsiteY5" fmla="*/ 466725 h 673100"/>
              <a:gd name="connsiteX6" fmla="*/ 239713 w 2767013"/>
              <a:gd name="connsiteY6" fmla="*/ 468313 h 673100"/>
              <a:gd name="connsiteX7" fmla="*/ 241300 w 2767013"/>
              <a:gd name="connsiteY7" fmla="*/ 63500 h 673100"/>
              <a:gd name="connsiteX8" fmla="*/ 50800 w 2767013"/>
              <a:gd name="connsiteY8" fmla="*/ 0 h 673100"/>
              <a:gd name="connsiteX9" fmla="*/ 0 w 2767013"/>
              <a:gd name="connsiteY9" fmla="*/ 0 h 673100"/>
              <a:gd name="connsiteX0" fmla="*/ 0 w 2767013"/>
              <a:gd name="connsiteY0" fmla="*/ 0 h 673100"/>
              <a:gd name="connsiteX1" fmla="*/ 12700 w 2767013"/>
              <a:gd name="connsiteY1" fmla="*/ 673100 h 673100"/>
              <a:gd name="connsiteX2" fmla="*/ 2767013 w 2767013"/>
              <a:gd name="connsiteY2" fmla="*/ 673100 h 673100"/>
              <a:gd name="connsiteX3" fmla="*/ 2763838 w 2767013"/>
              <a:gd name="connsiteY3" fmla="*/ 60324 h 673100"/>
              <a:gd name="connsiteX4" fmla="*/ 2576513 w 2767013"/>
              <a:gd name="connsiteY4" fmla="*/ 60324 h 673100"/>
              <a:gd name="connsiteX5" fmla="*/ 2578100 w 2767013"/>
              <a:gd name="connsiteY5" fmla="*/ 466725 h 673100"/>
              <a:gd name="connsiteX6" fmla="*/ 239713 w 2767013"/>
              <a:gd name="connsiteY6" fmla="*/ 468313 h 673100"/>
              <a:gd name="connsiteX7" fmla="*/ 241300 w 2767013"/>
              <a:gd name="connsiteY7" fmla="*/ 63500 h 673100"/>
              <a:gd name="connsiteX8" fmla="*/ 50800 w 2767013"/>
              <a:gd name="connsiteY8" fmla="*/ 0 h 673100"/>
              <a:gd name="connsiteX9" fmla="*/ 0 w 2767013"/>
              <a:gd name="connsiteY9" fmla="*/ 0 h 673100"/>
              <a:gd name="connsiteX0" fmla="*/ 0 w 2767013"/>
              <a:gd name="connsiteY0" fmla="*/ 0 h 673100"/>
              <a:gd name="connsiteX1" fmla="*/ 12700 w 2767013"/>
              <a:gd name="connsiteY1" fmla="*/ 673100 h 673100"/>
              <a:gd name="connsiteX2" fmla="*/ 2767013 w 2767013"/>
              <a:gd name="connsiteY2" fmla="*/ 673100 h 673100"/>
              <a:gd name="connsiteX3" fmla="*/ 2763838 w 2767013"/>
              <a:gd name="connsiteY3" fmla="*/ 60324 h 673100"/>
              <a:gd name="connsiteX4" fmla="*/ 2576513 w 2767013"/>
              <a:gd name="connsiteY4" fmla="*/ 60324 h 673100"/>
              <a:gd name="connsiteX5" fmla="*/ 2578100 w 2767013"/>
              <a:gd name="connsiteY5" fmla="*/ 466725 h 673100"/>
              <a:gd name="connsiteX6" fmla="*/ 239713 w 2767013"/>
              <a:gd name="connsiteY6" fmla="*/ 468313 h 673100"/>
              <a:gd name="connsiteX7" fmla="*/ 241300 w 2767013"/>
              <a:gd name="connsiteY7" fmla="*/ 53975 h 673100"/>
              <a:gd name="connsiteX8" fmla="*/ 50800 w 2767013"/>
              <a:gd name="connsiteY8" fmla="*/ 0 h 673100"/>
              <a:gd name="connsiteX9" fmla="*/ 0 w 2767013"/>
              <a:gd name="connsiteY9" fmla="*/ 0 h 673100"/>
              <a:gd name="connsiteX0" fmla="*/ 0 w 2762250"/>
              <a:gd name="connsiteY0" fmla="*/ 0 h 673100"/>
              <a:gd name="connsiteX1" fmla="*/ 7937 w 2762250"/>
              <a:gd name="connsiteY1" fmla="*/ 673100 h 673100"/>
              <a:gd name="connsiteX2" fmla="*/ 2762250 w 2762250"/>
              <a:gd name="connsiteY2" fmla="*/ 673100 h 673100"/>
              <a:gd name="connsiteX3" fmla="*/ 2759075 w 2762250"/>
              <a:gd name="connsiteY3" fmla="*/ 60324 h 673100"/>
              <a:gd name="connsiteX4" fmla="*/ 2571750 w 2762250"/>
              <a:gd name="connsiteY4" fmla="*/ 60324 h 673100"/>
              <a:gd name="connsiteX5" fmla="*/ 2573337 w 2762250"/>
              <a:gd name="connsiteY5" fmla="*/ 466725 h 673100"/>
              <a:gd name="connsiteX6" fmla="*/ 234950 w 2762250"/>
              <a:gd name="connsiteY6" fmla="*/ 468313 h 673100"/>
              <a:gd name="connsiteX7" fmla="*/ 236537 w 2762250"/>
              <a:gd name="connsiteY7" fmla="*/ 53975 h 673100"/>
              <a:gd name="connsiteX8" fmla="*/ 46037 w 2762250"/>
              <a:gd name="connsiteY8" fmla="*/ 0 h 673100"/>
              <a:gd name="connsiteX9" fmla="*/ 0 w 2762250"/>
              <a:gd name="connsiteY9" fmla="*/ 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2250" h="673100">
                <a:moveTo>
                  <a:pt x="0" y="0"/>
                </a:moveTo>
                <a:cubicBezTo>
                  <a:pt x="2646" y="224367"/>
                  <a:pt x="5291" y="448733"/>
                  <a:pt x="7937" y="673100"/>
                </a:cubicBezTo>
                <a:lnTo>
                  <a:pt x="2762250" y="673100"/>
                </a:lnTo>
                <a:cubicBezTo>
                  <a:pt x="2761192" y="465667"/>
                  <a:pt x="2760133" y="267757"/>
                  <a:pt x="2759075" y="60324"/>
                </a:cubicBezTo>
                <a:lnTo>
                  <a:pt x="2571750" y="60324"/>
                </a:lnTo>
                <a:cubicBezTo>
                  <a:pt x="2572279" y="203728"/>
                  <a:pt x="2572808" y="323321"/>
                  <a:pt x="2573337" y="466725"/>
                </a:cubicBezTo>
                <a:lnTo>
                  <a:pt x="234950" y="468313"/>
                </a:lnTo>
                <a:lnTo>
                  <a:pt x="236537" y="53975"/>
                </a:lnTo>
                <a:lnTo>
                  <a:pt x="46037" y="0"/>
                </a:lnTo>
                <a:lnTo>
                  <a:pt x="0" y="0"/>
                </a:lnTo>
                <a:close/>
              </a:path>
            </a:pathLst>
          </a:custGeom>
          <a:pattFill prst="pct80">
            <a:fgClr>
              <a:schemeClr val="tx1">
                <a:lumMod val="85000"/>
                <a:lumOff val="15000"/>
              </a:schemeClr>
            </a:fgClr>
            <a:bgClr>
              <a:srgbClr val="92D050"/>
            </a:bgClr>
          </a:patt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CorpoS" pitchFamily="2" charset="0"/>
            </a:endParaRPr>
          </a:p>
        </p:txBody>
      </p:sp>
      <p:sp>
        <p:nvSpPr>
          <p:cNvPr id="9" name="Freeform 8"/>
          <p:cNvSpPr/>
          <p:nvPr>
            <p:custDataLst>
              <p:tags r:id="rId4"/>
            </p:custDataLst>
          </p:nvPr>
        </p:nvSpPr>
        <p:spPr bwMode="auto">
          <a:xfrm>
            <a:off x="5021500" y="4380308"/>
            <a:ext cx="2786062" cy="868362"/>
          </a:xfrm>
          <a:custGeom>
            <a:avLst/>
            <a:gdLst>
              <a:gd name="connsiteX0" fmla="*/ 12700 w 2781300"/>
              <a:gd name="connsiteY0" fmla="*/ 800100 h 901700"/>
              <a:gd name="connsiteX1" fmla="*/ 241300 w 2781300"/>
              <a:gd name="connsiteY1" fmla="*/ 825500 h 901700"/>
              <a:gd name="connsiteX2" fmla="*/ 228600 w 2781300"/>
              <a:gd name="connsiteY2" fmla="*/ 241300 h 901700"/>
              <a:gd name="connsiteX3" fmla="*/ 1498600 w 2781300"/>
              <a:gd name="connsiteY3" fmla="*/ 279400 h 901700"/>
              <a:gd name="connsiteX4" fmla="*/ 1511300 w 2781300"/>
              <a:gd name="connsiteY4" fmla="*/ 863600 h 901700"/>
              <a:gd name="connsiteX5" fmla="*/ 1651000 w 2781300"/>
              <a:gd name="connsiteY5" fmla="*/ 850900 h 901700"/>
              <a:gd name="connsiteX6" fmla="*/ 1651000 w 2781300"/>
              <a:gd name="connsiteY6" fmla="*/ 266700 h 901700"/>
              <a:gd name="connsiteX7" fmla="*/ 2590800 w 2781300"/>
              <a:gd name="connsiteY7" fmla="*/ 254000 h 901700"/>
              <a:gd name="connsiteX8" fmla="*/ 2603500 w 2781300"/>
              <a:gd name="connsiteY8" fmla="*/ 889000 h 901700"/>
              <a:gd name="connsiteX9" fmla="*/ 2768600 w 2781300"/>
              <a:gd name="connsiteY9" fmla="*/ 901700 h 901700"/>
              <a:gd name="connsiteX10" fmla="*/ 2781300 w 2781300"/>
              <a:gd name="connsiteY10" fmla="*/ 38100 h 901700"/>
              <a:gd name="connsiteX11" fmla="*/ 0 w 2781300"/>
              <a:gd name="connsiteY11" fmla="*/ 0 h 901700"/>
              <a:gd name="connsiteX12" fmla="*/ 12700 w 2781300"/>
              <a:gd name="connsiteY12" fmla="*/ 800100 h 901700"/>
              <a:gd name="connsiteX0" fmla="*/ 12700 w 2781300"/>
              <a:gd name="connsiteY0" fmla="*/ 762000 h 863600"/>
              <a:gd name="connsiteX1" fmla="*/ 241300 w 2781300"/>
              <a:gd name="connsiteY1" fmla="*/ 787400 h 863600"/>
              <a:gd name="connsiteX2" fmla="*/ 228600 w 2781300"/>
              <a:gd name="connsiteY2" fmla="*/ 203200 h 863600"/>
              <a:gd name="connsiteX3" fmla="*/ 1498600 w 2781300"/>
              <a:gd name="connsiteY3" fmla="*/ 241300 h 863600"/>
              <a:gd name="connsiteX4" fmla="*/ 1511300 w 2781300"/>
              <a:gd name="connsiteY4" fmla="*/ 825500 h 863600"/>
              <a:gd name="connsiteX5" fmla="*/ 1651000 w 2781300"/>
              <a:gd name="connsiteY5" fmla="*/ 812800 h 863600"/>
              <a:gd name="connsiteX6" fmla="*/ 1651000 w 2781300"/>
              <a:gd name="connsiteY6" fmla="*/ 228600 h 863600"/>
              <a:gd name="connsiteX7" fmla="*/ 2590800 w 2781300"/>
              <a:gd name="connsiteY7" fmla="*/ 215900 h 863600"/>
              <a:gd name="connsiteX8" fmla="*/ 2603500 w 2781300"/>
              <a:gd name="connsiteY8" fmla="*/ 850900 h 863600"/>
              <a:gd name="connsiteX9" fmla="*/ 2768600 w 2781300"/>
              <a:gd name="connsiteY9" fmla="*/ 863600 h 863600"/>
              <a:gd name="connsiteX10" fmla="*/ 2781300 w 2781300"/>
              <a:gd name="connsiteY10" fmla="*/ 0 h 863600"/>
              <a:gd name="connsiteX11" fmla="*/ 0 w 2781300"/>
              <a:gd name="connsiteY11" fmla="*/ 23813 h 863600"/>
              <a:gd name="connsiteX12" fmla="*/ 12700 w 2781300"/>
              <a:gd name="connsiteY12" fmla="*/ 762000 h 863600"/>
              <a:gd name="connsiteX0" fmla="*/ 17462 w 2786062"/>
              <a:gd name="connsiteY0" fmla="*/ 766762 h 868362"/>
              <a:gd name="connsiteX1" fmla="*/ 246062 w 2786062"/>
              <a:gd name="connsiteY1" fmla="*/ 792162 h 868362"/>
              <a:gd name="connsiteX2" fmla="*/ 233362 w 2786062"/>
              <a:gd name="connsiteY2" fmla="*/ 207962 h 868362"/>
              <a:gd name="connsiteX3" fmla="*/ 1503362 w 2786062"/>
              <a:gd name="connsiteY3" fmla="*/ 246062 h 868362"/>
              <a:gd name="connsiteX4" fmla="*/ 1516062 w 2786062"/>
              <a:gd name="connsiteY4" fmla="*/ 830262 h 868362"/>
              <a:gd name="connsiteX5" fmla="*/ 1655762 w 2786062"/>
              <a:gd name="connsiteY5" fmla="*/ 817562 h 868362"/>
              <a:gd name="connsiteX6" fmla="*/ 1655762 w 2786062"/>
              <a:gd name="connsiteY6" fmla="*/ 233362 h 868362"/>
              <a:gd name="connsiteX7" fmla="*/ 2595562 w 2786062"/>
              <a:gd name="connsiteY7" fmla="*/ 220662 h 868362"/>
              <a:gd name="connsiteX8" fmla="*/ 2608262 w 2786062"/>
              <a:gd name="connsiteY8" fmla="*/ 855662 h 868362"/>
              <a:gd name="connsiteX9" fmla="*/ 2773362 w 2786062"/>
              <a:gd name="connsiteY9" fmla="*/ 868362 h 868362"/>
              <a:gd name="connsiteX10" fmla="*/ 2786062 w 2786062"/>
              <a:gd name="connsiteY10" fmla="*/ 4762 h 868362"/>
              <a:gd name="connsiteX11" fmla="*/ 0 w 2786062"/>
              <a:gd name="connsiteY11" fmla="*/ 0 h 868362"/>
              <a:gd name="connsiteX12" fmla="*/ 17462 w 2786062"/>
              <a:gd name="connsiteY12" fmla="*/ 766762 h 868362"/>
              <a:gd name="connsiteX0" fmla="*/ 17462 w 2786062"/>
              <a:gd name="connsiteY0" fmla="*/ 766762 h 868362"/>
              <a:gd name="connsiteX1" fmla="*/ 246062 w 2786062"/>
              <a:gd name="connsiteY1" fmla="*/ 792162 h 868362"/>
              <a:gd name="connsiteX2" fmla="*/ 233362 w 2786062"/>
              <a:gd name="connsiteY2" fmla="*/ 231774 h 868362"/>
              <a:gd name="connsiteX3" fmla="*/ 1503362 w 2786062"/>
              <a:gd name="connsiteY3" fmla="*/ 246062 h 868362"/>
              <a:gd name="connsiteX4" fmla="*/ 1516062 w 2786062"/>
              <a:gd name="connsiteY4" fmla="*/ 830262 h 868362"/>
              <a:gd name="connsiteX5" fmla="*/ 1655762 w 2786062"/>
              <a:gd name="connsiteY5" fmla="*/ 817562 h 868362"/>
              <a:gd name="connsiteX6" fmla="*/ 1655762 w 2786062"/>
              <a:gd name="connsiteY6" fmla="*/ 233362 h 868362"/>
              <a:gd name="connsiteX7" fmla="*/ 2595562 w 2786062"/>
              <a:gd name="connsiteY7" fmla="*/ 220662 h 868362"/>
              <a:gd name="connsiteX8" fmla="*/ 2608262 w 2786062"/>
              <a:gd name="connsiteY8" fmla="*/ 855662 h 868362"/>
              <a:gd name="connsiteX9" fmla="*/ 2773362 w 2786062"/>
              <a:gd name="connsiteY9" fmla="*/ 868362 h 868362"/>
              <a:gd name="connsiteX10" fmla="*/ 2786062 w 2786062"/>
              <a:gd name="connsiteY10" fmla="*/ 4762 h 868362"/>
              <a:gd name="connsiteX11" fmla="*/ 0 w 2786062"/>
              <a:gd name="connsiteY11" fmla="*/ 0 h 868362"/>
              <a:gd name="connsiteX12" fmla="*/ 17462 w 2786062"/>
              <a:gd name="connsiteY12" fmla="*/ 766762 h 868362"/>
              <a:gd name="connsiteX0" fmla="*/ 17462 w 2786062"/>
              <a:gd name="connsiteY0" fmla="*/ 766762 h 868362"/>
              <a:gd name="connsiteX1" fmla="*/ 246062 w 2786062"/>
              <a:gd name="connsiteY1" fmla="*/ 792162 h 868362"/>
              <a:gd name="connsiteX2" fmla="*/ 233362 w 2786062"/>
              <a:gd name="connsiteY2" fmla="*/ 227012 h 868362"/>
              <a:gd name="connsiteX3" fmla="*/ 1503362 w 2786062"/>
              <a:gd name="connsiteY3" fmla="*/ 246062 h 868362"/>
              <a:gd name="connsiteX4" fmla="*/ 1516062 w 2786062"/>
              <a:gd name="connsiteY4" fmla="*/ 830262 h 868362"/>
              <a:gd name="connsiteX5" fmla="*/ 1655762 w 2786062"/>
              <a:gd name="connsiteY5" fmla="*/ 817562 h 868362"/>
              <a:gd name="connsiteX6" fmla="*/ 1655762 w 2786062"/>
              <a:gd name="connsiteY6" fmla="*/ 233362 h 868362"/>
              <a:gd name="connsiteX7" fmla="*/ 2595562 w 2786062"/>
              <a:gd name="connsiteY7" fmla="*/ 220662 h 868362"/>
              <a:gd name="connsiteX8" fmla="*/ 2608262 w 2786062"/>
              <a:gd name="connsiteY8" fmla="*/ 855662 h 868362"/>
              <a:gd name="connsiteX9" fmla="*/ 2773362 w 2786062"/>
              <a:gd name="connsiteY9" fmla="*/ 868362 h 868362"/>
              <a:gd name="connsiteX10" fmla="*/ 2786062 w 2786062"/>
              <a:gd name="connsiteY10" fmla="*/ 4762 h 868362"/>
              <a:gd name="connsiteX11" fmla="*/ 0 w 2786062"/>
              <a:gd name="connsiteY11" fmla="*/ 0 h 868362"/>
              <a:gd name="connsiteX12" fmla="*/ 17462 w 2786062"/>
              <a:gd name="connsiteY12" fmla="*/ 766762 h 868362"/>
              <a:gd name="connsiteX0" fmla="*/ 17462 w 2786062"/>
              <a:gd name="connsiteY0" fmla="*/ 766762 h 868362"/>
              <a:gd name="connsiteX1" fmla="*/ 246062 w 2786062"/>
              <a:gd name="connsiteY1" fmla="*/ 792162 h 868362"/>
              <a:gd name="connsiteX2" fmla="*/ 233362 w 2786062"/>
              <a:gd name="connsiteY2" fmla="*/ 250824 h 868362"/>
              <a:gd name="connsiteX3" fmla="*/ 1503362 w 2786062"/>
              <a:gd name="connsiteY3" fmla="*/ 246062 h 868362"/>
              <a:gd name="connsiteX4" fmla="*/ 1516062 w 2786062"/>
              <a:gd name="connsiteY4" fmla="*/ 830262 h 868362"/>
              <a:gd name="connsiteX5" fmla="*/ 1655762 w 2786062"/>
              <a:gd name="connsiteY5" fmla="*/ 817562 h 868362"/>
              <a:gd name="connsiteX6" fmla="*/ 1655762 w 2786062"/>
              <a:gd name="connsiteY6" fmla="*/ 233362 h 868362"/>
              <a:gd name="connsiteX7" fmla="*/ 2595562 w 2786062"/>
              <a:gd name="connsiteY7" fmla="*/ 220662 h 868362"/>
              <a:gd name="connsiteX8" fmla="*/ 2608262 w 2786062"/>
              <a:gd name="connsiteY8" fmla="*/ 855662 h 868362"/>
              <a:gd name="connsiteX9" fmla="*/ 2773362 w 2786062"/>
              <a:gd name="connsiteY9" fmla="*/ 868362 h 868362"/>
              <a:gd name="connsiteX10" fmla="*/ 2786062 w 2786062"/>
              <a:gd name="connsiteY10" fmla="*/ 4762 h 868362"/>
              <a:gd name="connsiteX11" fmla="*/ 0 w 2786062"/>
              <a:gd name="connsiteY11" fmla="*/ 0 h 868362"/>
              <a:gd name="connsiteX12" fmla="*/ 17462 w 2786062"/>
              <a:gd name="connsiteY12" fmla="*/ 766762 h 868362"/>
              <a:gd name="connsiteX0" fmla="*/ 17462 w 2786062"/>
              <a:gd name="connsiteY0" fmla="*/ 766762 h 868362"/>
              <a:gd name="connsiteX1" fmla="*/ 246062 w 2786062"/>
              <a:gd name="connsiteY1" fmla="*/ 792162 h 868362"/>
              <a:gd name="connsiteX2" fmla="*/ 242887 w 2786062"/>
              <a:gd name="connsiteY2" fmla="*/ 236537 h 868362"/>
              <a:gd name="connsiteX3" fmla="*/ 1503362 w 2786062"/>
              <a:gd name="connsiteY3" fmla="*/ 246062 h 868362"/>
              <a:gd name="connsiteX4" fmla="*/ 1516062 w 2786062"/>
              <a:gd name="connsiteY4" fmla="*/ 830262 h 868362"/>
              <a:gd name="connsiteX5" fmla="*/ 1655762 w 2786062"/>
              <a:gd name="connsiteY5" fmla="*/ 817562 h 868362"/>
              <a:gd name="connsiteX6" fmla="*/ 1655762 w 2786062"/>
              <a:gd name="connsiteY6" fmla="*/ 233362 h 868362"/>
              <a:gd name="connsiteX7" fmla="*/ 2595562 w 2786062"/>
              <a:gd name="connsiteY7" fmla="*/ 220662 h 868362"/>
              <a:gd name="connsiteX8" fmla="*/ 2608262 w 2786062"/>
              <a:gd name="connsiteY8" fmla="*/ 855662 h 868362"/>
              <a:gd name="connsiteX9" fmla="*/ 2773362 w 2786062"/>
              <a:gd name="connsiteY9" fmla="*/ 868362 h 868362"/>
              <a:gd name="connsiteX10" fmla="*/ 2786062 w 2786062"/>
              <a:gd name="connsiteY10" fmla="*/ 4762 h 868362"/>
              <a:gd name="connsiteX11" fmla="*/ 0 w 2786062"/>
              <a:gd name="connsiteY11" fmla="*/ 0 h 868362"/>
              <a:gd name="connsiteX12" fmla="*/ 17462 w 2786062"/>
              <a:gd name="connsiteY12" fmla="*/ 766762 h 868362"/>
              <a:gd name="connsiteX0" fmla="*/ 17462 w 2786062"/>
              <a:gd name="connsiteY0" fmla="*/ 766762 h 868362"/>
              <a:gd name="connsiteX1" fmla="*/ 246062 w 2786062"/>
              <a:gd name="connsiteY1" fmla="*/ 792162 h 868362"/>
              <a:gd name="connsiteX2" fmla="*/ 242887 w 2786062"/>
              <a:gd name="connsiteY2" fmla="*/ 236537 h 868362"/>
              <a:gd name="connsiteX3" fmla="*/ 1503362 w 2786062"/>
              <a:gd name="connsiteY3" fmla="*/ 246062 h 868362"/>
              <a:gd name="connsiteX4" fmla="*/ 1516062 w 2786062"/>
              <a:gd name="connsiteY4" fmla="*/ 830262 h 868362"/>
              <a:gd name="connsiteX5" fmla="*/ 1655762 w 2786062"/>
              <a:gd name="connsiteY5" fmla="*/ 831849 h 868362"/>
              <a:gd name="connsiteX6" fmla="*/ 1655762 w 2786062"/>
              <a:gd name="connsiteY6" fmla="*/ 233362 h 868362"/>
              <a:gd name="connsiteX7" fmla="*/ 2595562 w 2786062"/>
              <a:gd name="connsiteY7" fmla="*/ 220662 h 868362"/>
              <a:gd name="connsiteX8" fmla="*/ 2608262 w 2786062"/>
              <a:gd name="connsiteY8" fmla="*/ 855662 h 868362"/>
              <a:gd name="connsiteX9" fmla="*/ 2773362 w 2786062"/>
              <a:gd name="connsiteY9" fmla="*/ 868362 h 868362"/>
              <a:gd name="connsiteX10" fmla="*/ 2786062 w 2786062"/>
              <a:gd name="connsiteY10" fmla="*/ 4762 h 868362"/>
              <a:gd name="connsiteX11" fmla="*/ 0 w 2786062"/>
              <a:gd name="connsiteY11" fmla="*/ 0 h 868362"/>
              <a:gd name="connsiteX12" fmla="*/ 17462 w 2786062"/>
              <a:gd name="connsiteY12" fmla="*/ 766762 h 8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86062" h="868362">
                <a:moveTo>
                  <a:pt x="17462" y="766762"/>
                </a:moveTo>
                <a:lnTo>
                  <a:pt x="246062" y="792162"/>
                </a:lnTo>
                <a:cubicBezTo>
                  <a:pt x="245004" y="606954"/>
                  <a:pt x="243945" y="421745"/>
                  <a:pt x="242887" y="236537"/>
                </a:cubicBezTo>
                <a:lnTo>
                  <a:pt x="1503362" y="246062"/>
                </a:lnTo>
                <a:lnTo>
                  <a:pt x="1516062" y="830262"/>
                </a:lnTo>
                <a:lnTo>
                  <a:pt x="1655762" y="831849"/>
                </a:lnTo>
                <a:lnTo>
                  <a:pt x="1655762" y="233362"/>
                </a:lnTo>
                <a:lnTo>
                  <a:pt x="2595562" y="220662"/>
                </a:lnTo>
                <a:lnTo>
                  <a:pt x="2608262" y="855662"/>
                </a:lnTo>
                <a:lnTo>
                  <a:pt x="2773362" y="868362"/>
                </a:lnTo>
                <a:lnTo>
                  <a:pt x="2786062" y="4762"/>
                </a:lnTo>
                <a:lnTo>
                  <a:pt x="0" y="0"/>
                </a:lnTo>
                <a:lnTo>
                  <a:pt x="17462" y="766762"/>
                </a:lnTo>
                <a:close/>
              </a:path>
            </a:pathLst>
          </a:custGeom>
          <a:pattFill prst="pct80">
            <a:fgClr>
              <a:schemeClr val="tx1">
                <a:lumMod val="85000"/>
                <a:lumOff val="15000"/>
              </a:schemeClr>
            </a:fgClr>
            <a:bgClr>
              <a:srgbClr val="92D050"/>
            </a:bgClr>
          </a:patt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endParaRPr lang="en-US"/>
          </a:p>
        </p:txBody>
      </p:sp>
      <p:sp>
        <p:nvSpPr>
          <p:cNvPr id="10" name="Rectangle 21"/>
          <p:cNvSpPr/>
          <p:nvPr>
            <p:custDataLst>
              <p:tags r:id="rId5"/>
            </p:custDataLst>
          </p:nvPr>
        </p:nvSpPr>
        <p:spPr bwMode="auto">
          <a:xfrm>
            <a:off x="5265094" y="5341612"/>
            <a:ext cx="2340260" cy="405569"/>
          </a:xfrm>
          <a:custGeom>
            <a:avLst/>
            <a:gdLst>
              <a:gd name="connsiteX0" fmla="*/ 0 w 2340260"/>
              <a:gd name="connsiteY0" fmla="*/ 0 h 396044"/>
              <a:gd name="connsiteX1" fmla="*/ 2340260 w 2340260"/>
              <a:gd name="connsiteY1" fmla="*/ 0 h 396044"/>
              <a:gd name="connsiteX2" fmla="*/ 2340260 w 2340260"/>
              <a:gd name="connsiteY2" fmla="*/ 396044 h 396044"/>
              <a:gd name="connsiteX3" fmla="*/ 0 w 2340260"/>
              <a:gd name="connsiteY3" fmla="*/ 396044 h 396044"/>
              <a:gd name="connsiteX4" fmla="*/ 0 w 2340260"/>
              <a:gd name="connsiteY4" fmla="*/ 0 h 396044"/>
              <a:gd name="connsiteX0" fmla="*/ 0 w 2340260"/>
              <a:gd name="connsiteY0" fmla="*/ 0 h 405569"/>
              <a:gd name="connsiteX1" fmla="*/ 2340260 w 2340260"/>
              <a:gd name="connsiteY1" fmla="*/ 9525 h 405569"/>
              <a:gd name="connsiteX2" fmla="*/ 2340260 w 2340260"/>
              <a:gd name="connsiteY2" fmla="*/ 405569 h 405569"/>
              <a:gd name="connsiteX3" fmla="*/ 0 w 2340260"/>
              <a:gd name="connsiteY3" fmla="*/ 405569 h 405569"/>
              <a:gd name="connsiteX4" fmla="*/ 0 w 2340260"/>
              <a:gd name="connsiteY4" fmla="*/ 0 h 405569"/>
              <a:gd name="connsiteX0" fmla="*/ 0 w 2340260"/>
              <a:gd name="connsiteY0" fmla="*/ 0 h 405569"/>
              <a:gd name="connsiteX1" fmla="*/ 2340260 w 2340260"/>
              <a:gd name="connsiteY1" fmla="*/ 0 h 405569"/>
              <a:gd name="connsiteX2" fmla="*/ 2340260 w 2340260"/>
              <a:gd name="connsiteY2" fmla="*/ 405569 h 405569"/>
              <a:gd name="connsiteX3" fmla="*/ 0 w 2340260"/>
              <a:gd name="connsiteY3" fmla="*/ 405569 h 405569"/>
              <a:gd name="connsiteX4" fmla="*/ 0 w 2340260"/>
              <a:gd name="connsiteY4" fmla="*/ 0 h 405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0260" h="405569">
                <a:moveTo>
                  <a:pt x="0" y="0"/>
                </a:moveTo>
                <a:lnTo>
                  <a:pt x="2340260" y="0"/>
                </a:lnTo>
                <a:lnTo>
                  <a:pt x="2340260" y="405569"/>
                </a:lnTo>
                <a:lnTo>
                  <a:pt x="0" y="405569"/>
                </a:lnTo>
                <a:lnTo>
                  <a:pt x="0" y="0"/>
                </a:lnTo>
                <a:close/>
              </a:path>
            </a:pathLst>
          </a:custGeom>
          <a:solidFill>
            <a:srgbClr val="FFC000"/>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grpSp>
        <p:nvGrpSpPr>
          <p:cNvPr id="11" name="Group 10"/>
          <p:cNvGrpSpPr/>
          <p:nvPr>
            <p:custDataLst>
              <p:tags r:id="rId6"/>
            </p:custDataLst>
          </p:nvPr>
        </p:nvGrpSpPr>
        <p:grpSpPr>
          <a:xfrm>
            <a:off x="8070908" y="5355517"/>
            <a:ext cx="252028" cy="247649"/>
            <a:chOff x="6624228" y="4945547"/>
            <a:chExt cx="252028" cy="247649"/>
          </a:xfrm>
        </p:grpSpPr>
        <p:sp>
          <p:nvSpPr>
            <p:cNvPr id="12" name="Oval 11"/>
            <p:cNvSpPr/>
            <p:nvPr/>
          </p:nvSpPr>
          <p:spPr bwMode="auto">
            <a:xfrm>
              <a:off x="6624228" y="4945547"/>
              <a:ext cx="252028" cy="24764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13" name="Oval 12"/>
            <p:cNvSpPr/>
            <p:nvPr/>
          </p:nvSpPr>
          <p:spPr bwMode="auto">
            <a:xfrm>
              <a:off x="6732240" y="5039465"/>
              <a:ext cx="45719" cy="4571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14" name="Arc 13"/>
            <p:cNvSpPr/>
            <p:nvPr/>
          </p:nvSpPr>
          <p:spPr bwMode="auto">
            <a:xfrm>
              <a:off x="6624228" y="4977172"/>
              <a:ext cx="216024" cy="188879"/>
            </a:xfrm>
            <a:prstGeom prst="arc">
              <a:avLst/>
            </a:prstGeom>
            <a:noFill/>
            <a:ln w="12700" cap="flat" cmpd="sng" algn="ctr">
              <a:solidFill>
                <a:schemeClr val="tx2">
                  <a:lumMod val="60000"/>
                  <a:lumOff val="40000"/>
                </a:schemeClr>
              </a:solidFill>
              <a:prstDash val="solid"/>
              <a:round/>
              <a:headEnd type="none" w="med" len="med"/>
              <a:tailEnd type="stealth"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grpSp>
      <p:grpSp>
        <p:nvGrpSpPr>
          <p:cNvPr id="15" name="Group 14"/>
          <p:cNvGrpSpPr/>
          <p:nvPr>
            <p:custDataLst>
              <p:tags r:id="rId7"/>
            </p:custDataLst>
          </p:nvPr>
        </p:nvGrpSpPr>
        <p:grpSpPr>
          <a:xfrm>
            <a:off x="8375708" y="5351138"/>
            <a:ext cx="252028" cy="247649"/>
            <a:chOff x="6624228" y="4945547"/>
            <a:chExt cx="252028" cy="247649"/>
          </a:xfrm>
        </p:grpSpPr>
        <p:sp>
          <p:nvSpPr>
            <p:cNvPr id="16" name="Oval 15"/>
            <p:cNvSpPr/>
            <p:nvPr/>
          </p:nvSpPr>
          <p:spPr bwMode="auto">
            <a:xfrm>
              <a:off x="6624228" y="4945547"/>
              <a:ext cx="252028" cy="24764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17" name="Oval 16"/>
            <p:cNvSpPr/>
            <p:nvPr/>
          </p:nvSpPr>
          <p:spPr bwMode="auto">
            <a:xfrm>
              <a:off x="6732240" y="5039465"/>
              <a:ext cx="45719" cy="4571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18" name="Arc 17"/>
            <p:cNvSpPr/>
            <p:nvPr/>
          </p:nvSpPr>
          <p:spPr bwMode="auto">
            <a:xfrm>
              <a:off x="6624228" y="4977172"/>
              <a:ext cx="216024" cy="188879"/>
            </a:xfrm>
            <a:prstGeom prst="arc">
              <a:avLst/>
            </a:prstGeom>
            <a:noFill/>
            <a:ln w="12700" cap="flat" cmpd="sng" algn="ctr">
              <a:solidFill>
                <a:schemeClr val="tx2">
                  <a:lumMod val="60000"/>
                  <a:lumOff val="40000"/>
                </a:schemeClr>
              </a:solidFill>
              <a:prstDash val="solid"/>
              <a:round/>
              <a:headEnd type="none" w="med" len="med"/>
              <a:tailEnd type="stealth"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grpSp>
      <p:sp>
        <p:nvSpPr>
          <p:cNvPr id="19" name="Freeform 18"/>
          <p:cNvSpPr/>
          <p:nvPr>
            <p:custDataLst>
              <p:tags r:id="rId8"/>
            </p:custDataLst>
          </p:nvPr>
        </p:nvSpPr>
        <p:spPr bwMode="auto">
          <a:xfrm>
            <a:off x="2353532" y="5172705"/>
            <a:ext cx="7924800" cy="171630"/>
          </a:xfrm>
          <a:custGeom>
            <a:avLst/>
            <a:gdLst>
              <a:gd name="connsiteX0" fmla="*/ 0 w 7061200"/>
              <a:gd name="connsiteY0" fmla="*/ 38100 h 609600"/>
              <a:gd name="connsiteX1" fmla="*/ 2654300 w 7061200"/>
              <a:gd name="connsiteY1" fmla="*/ 0 h 609600"/>
              <a:gd name="connsiteX2" fmla="*/ 2933700 w 7061200"/>
              <a:gd name="connsiteY2" fmla="*/ 88900 h 609600"/>
              <a:gd name="connsiteX3" fmla="*/ 7061200 w 7061200"/>
              <a:gd name="connsiteY3" fmla="*/ 114300 h 609600"/>
              <a:gd name="connsiteX4" fmla="*/ 7048500 w 7061200"/>
              <a:gd name="connsiteY4" fmla="*/ 190500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381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48500 w 7061200"/>
              <a:gd name="connsiteY4" fmla="*/ 190500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38975 w 7061200"/>
              <a:gd name="connsiteY4" fmla="*/ 176212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24687 w 7061200"/>
              <a:gd name="connsiteY4" fmla="*/ 166687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19925 w 7061200"/>
              <a:gd name="connsiteY4" fmla="*/ 152400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19925 w 7061200"/>
              <a:gd name="connsiteY4" fmla="*/ 171450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29450 w 7061200"/>
              <a:gd name="connsiteY4" fmla="*/ 190500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29450 w 7061200"/>
              <a:gd name="connsiteY4" fmla="*/ 204787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29450 w 7061200"/>
              <a:gd name="connsiteY4" fmla="*/ 157162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29450 w 7061200"/>
              <a:gd name="connsiteY4" fmla="*/ 185737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29450 w 7061200"/>
              <a:gd name="connsiteY4" fmla="*/ 171449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24688 w 7061200"/>
              <a:gd name="connsiteY4" fmla="*/ 161924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329489"/>
              <a:gd name="connsiteY0" fmla="*/ 12700 h 609600"/>
              <a:gd name="connsiteX1" fmla="*/ 2654300 w 7329489"/>
              <a:gd name="connsiteY1" fmla="*/ 0 h 609600"/>
              <a:gd name="connsiteX2" fmla="*/ 2933700 w 7329489"/>
              <a:gd name="connsiteY2" fmla="*/ 88900 h 609600"/>
              <a:gd name="connsiteX3" fmla="*/ 7027862 w 7329489"/>
              <a:gd name="connsiteY3" fmla="*/ 104775 h 609600"/>
              <a:gd name="connsiteX4" fmla="*/ 7024688 w 7329489"/>
              <a:gd name="connsiteY4" fmla="*/ 161924 h 609600"/>
              <a:gd name="connsiteX5" fmla="*/ 2921000 w 7329489"/>
              <a:gd name="connsiteY5" fmla="*/ 165100 h 609600"/>
              <a:gd name="connsiteX6" fmla="*/ 2692400 w 7329489"/>
              <a:gd name="connsiteY6" fmla="*/ 101600 h 609600"/>
              <a:gd name="connsiteX7" fmla="*/ 2463800 w 7329489"/>
              <a:gd name="connsiteY7" fmla="*/ 76200 h 609600"/>
              <a:gd name="connsiteX8" fmla="*/ 1892300 w 7329489"/>
              <a:gd name="connsiteY8" fmla="*/ 609600 h 609600"/>
              <a:gd name="connsiteX9" fmla="*/ 0 w 7329489"/>
              <a:gd name="connsiteY9" fmla="*/ 596900 h 609600"/>
              <a:gd name="connsiteX10" fmla="*/ 0 w 7329489"/>
              <a:gd name="connsiteY10" fmla="*/ 12700 h 609600"/>
              <a:gd name="connsiteX0" fmla="*/ 0 w 7329489"/>
              <a:gd name="connsiteY0" fmla="*/ 12700 h 609600"/>
              <a:gd name="connsiteX1" fmla="*/ 2654300 w 7329489"/>
              <a:gd name="connsiteY1" fmla="*/ 0 h 609600"/>
              <a:gd name="connsiteX2" fmla="*/ 2933700 w 7329489"/>
              <a:gd name="connsiteY2" fmla="*/ 88900 h 609600"/>
              <a:gd name="connsiteX3" fmla="*/ 7027862 w 7329489"/>
              <a:gd name="connsiteY3" fmla="*/ 76200 h 609600"/>
              <a:gd name="connsiteX4" fmla="*/ 7024688 w 7329489"/>
              <a:gd name="connsiteY4" fmla="*/ 161924 h 609600"/>
              <a:gd name="connsiteX5" fmla="*/ 2921000 w 7329489"/>
              <a:gd name="connsiteY5" fmla="*/ 165100 h 609600"/>
              <a:gd name="connsiteX6" fmla="*/ 2692400 w 7329489"/>
              <a:gd name="connsiteY6" fmla="*/ 101600 h 609600"/>
              <a:gd name="connsiteX7" fmla="*/ 2463800 w 7329489"/>
              <a:gd name="connsiteY7" fmla="*/ 76200 h 609600"/>
              <a:gd name="connsiteX8" fmla="*/ 1892300 w 7329489"/>
              <a:gd name="connsiteY8" fmla="*/ 609600 h 609600"/>
              <a:gd name="connsiteX9" fmla="*/ 0 w 7329489"/>
              <a:gd name="connsiteY9" fmla="*/ 596900 h 609600"/>
              <a:gd name="connsiteX10" fmla="*/ 0 w 7329489"/>
              <a:gd name="connsiteY10" fmla="*/ 12700 h 609600"/>
              <a:gd name="connsiteX0" fmla="*/ 0 w 7324755"/>
              <a:gd name="connsiteY0" fmla="*/ 12700 h 609600"/>
              <a:gd name="connsiteX1" fmla="*/ 2654300 w 7324755"/>
              <a:gd name="connsiteY1" fmla="*/ 0 h 609600"/>
              <a:gd name="connsiteX2" fmla="*/ 2933700 w 7324755"/>
              <a:gd name="connsiteY2" fmla="*/ 88900 h 609600"/>
              <a:gd name="connsiteX3" fmla="*/ 7013574 w 7324755"/>
              <a:gd name="connsiteY3" fmla="*/ 38100 h 609600"/>
              <a:gd name="connsiteX4" fmla="*/ 7024688 w 7324755"/>
              <a:gd name="connsiteY4" fmla="*/ 161924 h 609600"/>
              <a:gd name="connsiteX5" fmla="*/ 2921000 w 7324755"/>
              <a:gd name="connsiteY5" fmla="*/ 165100 h 609600"/>
              <a:gd name="connsiteX6" fmla="*/ 2692400 w 7324755"/>
              <a:gd name="connsiteY6" fmla="*/ 101600 h 609600"/>
              <a:gd name="connsiteX7" fmla="*/ 2463800 w 7324755"/>
              <a:gd name="connsiteY7" fmla="*/ 76200 h 609600"/>
              <a:gd name="connsiteX8" fmla="*/ 1892300 w 7324755"/>
              <a:gd name="connsiteY8" fmla="*/ 609600 h 609600"/>
              <a:gd name="connsiteX9" fmla="*/ 0 w 7324755"/>
              <a:gd name="connsiteY9" fmla="*/ 596900 h 609600"/>
              <a:gd name="connsiteX10" fmla="*/ 0 w 7324755"/>
              <a:gd name="connsiteY10" fmla="*/ 12700 h 609600"/>
              <a:gd name="connsiteX0" fmla="*/ 0 w 7324755"/>
              <a:gd name="connsiteY0" fmla="*/ 12700 h 609600"/>
              <a:gd name="connsiteX1" fmla="*/ 2654300 w 7324755"/>
              <a:gd name="connsiteY1" fmla="*/ 0 h 609600"/>
              <a:gd name="connsiteX2" fmla="*/ 2933700 w 7324755"/>
              <a:gd name="connsiteY2" fmla="*/ 88900 h 609600"/>
              <a:gd name="connsiteX3" fmla="*/ 7013574 w 7324755"/>
              <a:gd name="connsiteY3" fmla="*/ 100012 h 609600"/>
              <a:gd name="connsiteX4" fmla="*/ 7024688 w 7324755"/>
              <a:gd name="connsiteY4" fmla="*/ 161924 h 609600"/>
              <a:gd name="connsiteX5" fmla="*/ 2921000 w 7324755"/>
              <a:gd name="connsiteY5" fmla="*/ 165100 h 609600"/>
              <a:gd name="connsiteX6" fmla="*/ 2692400 w 7324755"/>
              <a:gd name="connsiteY6" fmla="*/ 101600 h 609600"/>
              <a:gd name="connsiteX7" fmla="*/ 2463800 w 7324755"/>
              <a:gd name="connsiteY7" fmla="*/ 76200 h 609600"/>
              <a:gd name="connsiteX8" fmla="*/ 1892300 w 7324755"/>
              <a:gd name="connsiteY8" fmla="*/ 609600 h 609600"/>
              <a:gd name="connsiteX9" fmla="*/ 0 w 7324755"/>
              <a:gd name="connsiteY9" fmla="*/ 596900 h 609600"/>
              <a:gd name="connsiteX10" fmla="*/ 0 w 7324755"/>
              <a:gd name="connsiteY10" fmla="*/ 12700 h 609600"/>
              <a:gd name="connsiteX0" fmla="*/ 0 w 7324755"/>
              <a:gd name="connsiteY0" fmla="*/ 12700 h 609600"/>
              <a:gd name="connsiteX1" fmla="*/ 2654300 w 7324755"/>
              <a:gd name="connsiteY1" fmla="*/ 0 h 609600"/>
              <a:gd name="connsiteX2" fmla="*/ 2933700 w 7324755"/>
              <a:gd name="connsiteY2" fmla="*/ 88900 h 609600"/>
              <a:gd name="connsiteX3" fmla="*/ 7013574 w 7324755"/>
              <a:gd name="connsiteY3" fmla="*/ 114300 h 609600"/>
              <a:gd name="connsiteX4" fmla="*/ 7024688 w 7324755"/>
              <a:gd name="connsiteY4" fmla="*/ 161924 h 609600"/>
              <a:gd name="connsiteX5" fmla="*/ 2921000 w 7324755"/>
              <a:gd name="connsiteY5" fmla="*/ 165100 h 609600"/>
              <a:gd name="connsiteX6" fmla="*/ 2692400 w 7324755"/>
              <a:gd name="connsiteY6" fmla="*/ 101600 h 609600"/>
              <a:gd name="connsiteX7" fmla="*/ 2463800 w 7324755"/>
              <a:gd name="connsiteY7" fmla="*/ 76200 h 609600"/>
              <a:gd name="connsiteX8" fmla="*/ 1892300 w 7324755"/>
              <a:gd name="connsiteY8" fmla="*/ 609600 h 609600"/>
              <a:gd name="connsiteX9" fmla="*/ 0 w 7324755"/>
              <a:gd name="connsiteY9" fmla="*/ 596900 h 609600"/>
              <a:gd name="connsiteX10" fmla="*/ 0 w 7324755"/>
              <a:gd name="connsiteY10" fmla="*/ 12700 h 609600"/>
              <a:gd name="connsiteX0" fmla="*/ 0 w 7321648"/>
              <a:gd name="connsiteY0" fmla="*/ 12700 h 609600"/>
              <a:gd name="connsiteX1" fmla="*/ 2654300 w 7321648"/>
              <a:gd name="connsiteY1" fmla="*/ 0 h 609600"/>
              <a:gd name="connsiteX2" fmla="*/ 2933700 w 7321648"/>
              <a:gd name="connsiteY2" fmla="*/ 88900 h 609600"/>
              <a:gd name="connsiteX3" fmla="*/ 7004049 w 7321648"/>
              <a:gd name="connsiteY3" fmla="*/ 100012 h 609600"/>
              <a:gd name="connsiteX4" fmla="*/ 7024688 w 7321648"/>
              <a:gd name="connsiteY4" fmla="*/ 161924 h 609600"/>
              <a:gd name="connsiteX5" fmla="*/ 2921000 w 7321648"/>
              <a:gd name="connsiteY5" fmla="*/ 165100 h 609600"/>
              <a:gd name="connsiteX6" fmla="*/ 2692400 w 7321648"/>
              <a:gd name="connsiteY6" fmla="*/ 101600 h 609600"/>
              <a:gd name="connsiteX7" fmla="*/ 2463800 w 7321648"/>
              <a:gd name="connsiteY7" fmla="*/ 76200 h 609600"/>
              <a:gd name="connsiteX8" fmla="*/ 1892300 w 7321648"/>
              <a:gd name="connsiteY8" fmla="*/ 609600 h 609600"/>
              <a:gd name="connsiteX9" fmla="*/ 0 w 7321648"/>
              <a:gd name="connsiteY9" fmla="*/ 596900 h 609600"/>
              <a:gd name="connsiteX10" fmla="*/ 0 w 7321648"/>
              <a:gd name="connsiteY10" fmla="*/ 12700 h 609600"/>
              <a:gd name="connsiteX0" fmla="*/ 0 w 7320109"/>
              <a:gd name="connsiteY0" fmla="*/ 12700 h 609600"/>
              <a:gd name="connsiteX1" fmla="*/ 2654300 w 7320109"/>
              <a:gd name="connsiteY1" fmla="*/ 0 h 609600"/>
              <a:gd name="connsiteX2" fmla="*/ 2933700 w 7320109"/>
              <a:gd name="connsiteY2" fmla="*/ 88900 h 609600"/>
              <a:gd name="connsiteX3" fmla="*/ 6999287 w 7320109"/>
              <a:gd name="connsiteY3" fmla="*/ 85725 h 609600"/>
              <a:gd name="connsiteX4" fmla="*/ 7024688 w 7320109"/>
              <a:gd name="connsiteY4" fmla="*/ 161924 h 609600"/>
              <a:gd name="connsiteX5" fmla="*/ 2921000 w 7320109"/>
              <a:gd name="connsiteY5" fmla="*/ 165100 h 609600"/>
              <a:gd name="connsiteX6" fmla="*/ 2692400 w 7320109"/>
              <a:gd name="connsiteY6" fmla="*/ 101600 h 609600"/>
              <a:gd name="connsiteX7" fmla="*/ 2463800 w 7320109"/>
              <a:gd name="connsiteY7" fmla="*/ 76200 h 609600"/>
              <a:gd name="connsiteX8" fmla="*/ 1892300 w 7320109"/>
              <a:gd name="connsiteY8" fmla="*/ 609600 h 609600"/>
              <a:gd name="connsiteX9" fmla="*/ 0 w 7320109"/>
              <a:gd name="connsiteY9" fmla="*/ 596900 h 609600"/>
              <a:gd name="connsiteX10" fmla="*/ 0 w 7320109"/>
              <a:gd name="connsiteY10" fmla="*/ 12700 h 609600"/>
              <a:gd name="connsiteX0" fmla="*/ 0 w 7024688"/>
              <a:gd name="connsiteY0" fmla="*/ 12700 h 609600"/>
              <a:gd name="connsiteX1" fmla="*/ 2654300 w 7024688"/>
              <a:gd name="connsiteY1" fmla="*/ 0 h 609600"/>
              <a:gd name="connsiteX2" fmla="*/ 2933700 w 7024688"/>
              <a:gd name="connsiteY2" fmla="*/ 88900 h 609600"/>
              <a:gd name="connsiteX3" fmla="*/ 6999287 w 7024688"/>
              <a:gd name="connsiteY3" fmla="*/ 85725 h 609600"/>
              <a:gd name="connsiteX4" fmla="*/ 7024688 w 7024688"/>
              <a:gd name="connsiteY4" fmla="*/ 161924 h 609600"/>
              <a:gd name="connsiteX5" fmla="*/ 2921000 w 7024688"/>
              <a:gd name="connsiteY5" fmla="*/ 165100 h 609600"/>
              <a:gd name="connsiteX6" fmla="*/ 2692400 w 7024688"/>
              <a:gd name="connsiteY6" fmla="*/ 101600 h 609600"/>
              <a:gd name="connsiteX7" fmla="*/ 2463800 w 7024688"/>
              <a:gd name="connsiteY7" fmla="*/ 76200 h 609600"/>
              <a:gd name="connsiteX8" fmla="*/ 1892300 w 7024688"/>
              <a:gd name="connsiteY8" fmla="*/ 609600 h 609600"/>
              <a:gd name="connsiteX9" fmla="*/ 0 w 7024688"/>
              <a:gd name="connsiteY9" fmla="*/ 596900 h 609600"/>
              <a:gd name="connsiteX10" fmla="*/ 0 w 7024688"/>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91350 w 6999287"/>
              <a:gd name="connsiteY4" fmla="*/ 161924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91350 w 6999287"/>
              <a:gd name="connsiteY4" fmla="*/ 176212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91350 w 6999287"/>
              <a:gd name="connsiteY4" fmla="*/ 152399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96113 w 6999287"/>
              <a:gd name="connsiteY4" fmla="*/ 157162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91350 w 6999287"/>
              <a:gd name="connsiteY4" fmla="*/ 142874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91350 w 6999287"/>
              <a:gd name="connsiteY4" fmla="*/ 157162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77063 w 6999287"/>
              <a:gd name="connsiteY4" fmla="*/ 142875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81825 w 6999287"/>
              <a:gd name="connsiteY4" fmla="*/ 152400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86587 w 6999287"/>
              <a:gd name="connsiteY4" fmla="*/ 166688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86587 w 6999287"/>
              <a:gd name="connsiteY4" fmla="*/ 152400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86587 w 6999287"/>
              <a:gd name="connsiteY4" fmla="*/ 161925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86587 w 6999287"/>
              <a:gd name="connsiteY4" fmla="*/ 152400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86587 w 6999287"/>
              <a:gd name="connsiteY4" fmla="*/ 166687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86587 w 6999287"/>
              <a:gd name="connsiteY4" fmla="*/ 157162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0 h 630237"/>
              <a:gd name="connsiteX1" fmla="*/ 2654300 w 6999287"/>
              <a:gd name="connsiteY1" fmla="*/ 20637 h 630237"/>
              <a:gd name="connsiteX2" fmla="*/ 2933700 w 6999287"/>
              <a:gd name="connsiteY2" fmla="*/ 109537 h 630237"/>
              <a:gd name="connsiteX3" fmla="*/ 6999287 w 6999287"/>
              <a:gd name="connsiteY3" fmla="*/ 106362 h 630237"/>
              <a:gd name="connsiteX4" fmla="*/ 6986587 w 6999287"/>
              <a:gd name="connsiteY4" fmla="*/ 177799 h 630237"/>
              <a:gd name="connsiteX5" fmla="*/ 2921000 w 6999287"/>
              <a:gd name="connsiteY5" fmla="*/ 185737 h 630237"/>
              <a:gd name="connsiteX6" fmla="*/ 2692400 w 6999287"/>
              <a:gd name="connsiteY6" fmla="*/ 122237 h 630237"/>
              <a:gd name="connsiteX7" fmla="*/ 2463800 w 6999287"/>
              <a:gd name="connsiteY7" fmla="*/ 96837 h 630237"/>
              <a:gd name="connsiteX8" fmla="*/ 1892300 w 6999287"/>
              <a:gd name="connsiteY8" fmla="*/ 630237 h 630237"/>
              <a:gd name="connsiteX9" fmla="*/ 0 w 6999287"/>
              <a:gd name="connsiteY9" fmla="*/ 617537 h 630237"/>
              <a:gd name="connsiteX10" fmla="*/ 0 w 6999287"/>
              <a:gd name="connsiteY10" fmla="*/ 0 h 630237"/>
              <a:gd name="connsiteX0" fmla="*/ 0 w 6999287"/>
              <a:gd name="connsiteY0" fmla="*/ 7938 h 609600"/>
              <a:gd name="connsiteX1" fmla="*/ 2654300 w 6999287"/>
              <a:gd name="connsiteY1" fmla="*/ 0 h 609600"/>
              <a:gd name="connsiteX2" fmla="*/ 2933700 w 6999287"/>
              <a:gd name="connsiteY2" fmla="*/ 88900 h 609600"/>
              <a:gd name="connsiteX3" fmla="*/ 6999287 w 6999287"/>
              <a:gd name="connsiteY3" fmla="*/ 85725 h 609600"/>
              <a:gd name="connsiteX4" fmla="*/ 6986587 w 6999287"/>
              <a:gd name="connsiteY4" fmla="*/ 157162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7938 h 609600"/>
              <a:gd name="connsiteX0" fmla="*/ 0 w 7008812"/>
              <a:gd name="connsiteY0" fmla="*/ 0 h 615950"/>
              <a:gd name="connsiteX1" fmla="*/ 2663825 w 7008812"/>
              <a:gd name="connsiteY1" fmla="*/ 6350 h 615950"/>
              <a:gd name="connsiteX2" fmla="*/ 2943225 w 7008812"/>
              <a:gd name="connsiteY2" fmla="*/ 95250 h 615950"/>
              <a:gd name="connsiteX3" fmla="*/ 7008812 w 7008812"/>
              <a:gd name="connsiteY3" fmla="*/ 92075 h 615950"/>
              <a:gd name="connsiteX4" fmla="*/ 6996112 w 7008812"/>
              <a:gd name="connsiteY4" fmla="*/ 163512 h 615950"/>
              <a:gd name="connsiteX5" fmla="*/ 2930525 w 7008812"/>
              <a:gd name="connsiteY5" fmla="*/ 171450 h 615950"/>
              <a:gd name="connsiteX6" fmla="*/ 2701925 w 7008812"/>
              <a:gd name="connsiteY6" fmla="*/ 107950 h 615950"/>
              <a:gd name="connsiteX7" fmla="*/ 2473325 w 7008812"/>
              <a:gd name="connsiteY7" fmla="*/ 82550 h 615950"/>
              <a:gd name="connsiteX8" fmla="*/ 1901825 w 7008812"/>
              <a:gd name="connsiteY8" fmla="*/ 615950 h 615950"/>
              <a:gd name="connsiteX9" fmla="*/ 9525 w 7008812"/>
              <a:gd name="connsiteY9" fmla="*/ 603250 h 615950"/>
              <a:gd name="connsiteX10" fmla="*/ 0 w 7008812"/>
              <a:gd name="connsiteY10" fmla="*/ 0 h 615950"/>
              <a:gd name="connsiteX0" fmla="*/ 0 w 7008812"/>
              <a:gd name="connsiteY0" fmla="*/ 12700 h 609600"/>
              <a:gd name="connsiteX1" fmla="*/ 2663825 w 7008812"/>
              <a:gd name="connsiteY1" fmla="*/ 0 h 609600"/>
              <a:gd name="connsiteX2" fmla="*/ 2943225 w 7008812"/>
              <a:gd name="connsiteY2" fmla="*/ 88900 h 609600"/>
              <a:gd name="connsiteX3" fmla="*/ 7008812 w 7008812"/>
              <a:gd name="connsiteY3" fmla="*/ 85725 h 609600"/>
              <a:gd name="connsiteX4" fmla="*/ 6996112 w 7008812"/>
              <a:gd name="connsiteY4" fmla="*/ 157162 h 609600"/>
              <a:gd name="connsiteX5" fmla="*/ 2930525 w 7008812"/>
              <a:gd name="connsiteY5" fmla="*/ 165100 h 609600"/>
              <a:gd name="connsiteX6" fmla="*/ 2701925 w 7008812"/>
              <a:gd name="connsiteY6" fmla="*/ 101600 h 609600"/>
              <a:gd name="connsiteX7" fmla="*/ 2473325 w 7008812"/>
              <a:gd name="connsiteY7" fmla="*/ 76200 h 609600"/>
              <a:gd name="connsiteX8" fmla="*/ 1901825 w 7008812"/>
              <a:gd name="connsiteY8" fmla="*/ 609600 h 609600"/>
              <a:gd name="connsiteX9" fmla="*/ 9525 w 7008812"/>
              <a:gd name="connsiteY9" fmla="*/ 596900 h 609600"/>
              <a:gd name="connsiteX10" fmla="*/ 0 w 7008812"/>
              <a:gd name="connsiteY10" fmla="*/ 12700 h 609600"/>
              <a:gd name="connsiteX0" fmla="*/ 0 w 7008812"/>
              <a:gd name="connsiteY0" fmla="*/ 0 h 611187"/>
              <a:gd name="connsiteX1" fmla="*/ 2663825 w 7008812"/>
              <a:gd name="connsiteY1" fmla="*/ 1587 h 611187"/>
              <a:gd name="connsiteX2" fmla="*/ 2943225 w 7008812"/>
              <a:gd name="connsiteY2" fmla="*/ 90487 h 611187"/>
              <a:gd name="connsiteX3" fmla="*/ 7008812 w 7008812"/>
              <a:gd name="connsiteY3" fmla="*/ 87312 h 611187"/>
              <a:gd name="connsiteX4" fmla="*/ 6996112 w 7008812"/>
              <a:gd name="connsiteY4" fmla="*/ 158749 h 611187"/>
              <a:gd name="connsiteX5" fmla="*/ 2930525 w 7008812"/>
              <a:gd name="connsiteY5" fmla="*/ 166687 h 611187"/>
              <a:gd name="connsiteX6" fmla="*/ 2701925 w 7008812"/>
              <a:gd name="connsiteY6" fmla="*/ 103187 h 611187"/>
              <a:gd name="connsiteX7" fmla="*/ 2473325 w 7008812"/>
              <a:gd name="connsiteY7" fmla="*/ 77787 h 611187"/>
              <a:gd name="connsiteX8" fmla="*/ 1901825 w 7008812"/>
              <a:gd name="connsiteY8" fmla="*/ 611187 h 611187"/>
              <a:gd name="connsiteX9" fmla="*/ 9525 w 7008812"/>
              <a:gd name="connsiteY9" fmla="*/ 598487 h 611187"/>
              <a:gd name="connsiteX10" fmla="*/ 0 w 7008812"/>
              <a:gd name="connsiteY10" fmla="*/ 0 h 611187"/>
              <a:gd name="connsiteX0" fmla="*/ 0 w 6999287"/>
              <a:gd name="connsiteY0" fmla="*/ 0 h 611187"/>
              <a:gd name="connsiteX1" fmla="*/ 2654300 w 6999287"/>
              <a:gd name="connsiteY1" fmla="*/ 1587 h 611187"/>
              <a:gd name="connsiteX2" fmla="*/ 2933700 w 6999287"/>
              <a:gd name="connsiteY2" fmla="*/ 90487 h 611187"/>
              <a:gd name="connsiteX3" fmla="*/ 6999287 w 6999287"/>
              <a:gd name="connsiteY3" fmla="*/ 87312 h 611187"/>
              <a:gd name="connsiteX4" fmla="*/ 6986587 w 6999287"/>
              <a:gd name="connsiteY4" fmla="*/ 158749 h 611187"/>
              <a:gd name="connsiteX5" fmla="*/ 2921000 w 6999287"/>
              <a:gd name="connsiteY5" fmla="*/ 166687 h 611187"/>
              <a:gd name="connsiteX6" fmla="*/ 2692400 w 6999287"/>
              <a:gd name="connsiteY6" fmla="*/ 103187 h 611187"/>
              <a:gd name="connsiteX7" fmla="*/ 2463800 w 6999287"/>
              <a:gd name="connsiteY7" fmla="*/ 77787 h 611187"/>
              <a:gd name="connsiteX8" fmla="*/ 1892300 w 6999287"/>
              <a:gd name="connsiteY8" fmla="*/ 611187 h 611187"/>
              <a:gd name="connsiteX9" fmla="*/ 0 w 6999287"/>
              <a:gd name="connsiteY9" fmla="*/ 598487 h 611187"/>
              <a:gd name="connsiteX10" fmla="*/ 0 w 6999287"/>
              <a:gd name="connsiteY10" fmla="*/ 0 h 611187"/>
              <a:gd name="connsiteX0" fmla="*/ 0 w 6999287"/>
              <a:gd name="connsiteY0" fmla="*/ 0 h 611187"/>
              <a:gd name="connsiteX1" fmla="*/ 2654300 w 6999287"/>
              <a:gd name="connsiteY1" fmla="*/ 1587 h 611187"/>
              <a:gd name="connsiteX2" fmla="*/ 2933700 w 6999287"/>
              <a:gd name="connsiteY2" fmla="*/ 90487 h 611187"/>
              <a:gd name="connsiteX3" fmla="*/ 6999287 w 6999287"/>
              <a:gd name="connsiteY3" fmla="*/ 87312 h 611187"/>
              <a:gd name="connsiteX4" fmla="*/ 6986587 w 6999287"/>
              <a:gd name="connsiteY4" fmla="*/ 158749 h 611187"/>
              <a:gd name="connsiteX5" fmla="*/ 2921000 w 6999287"/>
              <a:gd name="connsiteY5" fmla="*/ 166687 h 611187"/>
              <a:gd name="connsiteX6" fmla="*/ 2692400 w 6999287"/>
              <a:gd name="connsiteY6" fmla="*/ 103187 h 611187"/>
              <a:gd name="connsiteX7" fmla="*/ 2463800 w 6999287"/>
              <a:gd name="connsiteY7" fmla="*/ 77787 h 611187"/>
              <a:gd name="connsiteX8" fmla="*/ 1892300 w 6999287"/>
              <a:gd name="connsiteY8" fmla="*/ 611187 h 611187"/>
              <a:gd name="connsiteX9" fmla="*/ 0 w 6999287"/>
              <a:gd name="connsiteY9" fmla="*/ 598487 h 611187"/>
              <a:gd name="connsiteX10" fmla="*/ 0 w 6999287"/>
              <a:gd name="connsiteY10" fmla="*/ 0 h 611187"/>
              <a:gd name="connsiteX0" fmla="*/ 0 w 6999287"/>
              <a:gd name="connsiteY0" fmla="*/ 0 h 611187"/>
              <a:gd name="connsiteX1" fmla="*/ 2654300 w 6999287"/>
              <a:gd name="connsiteY1" fmla="*/ 1587 h 611187"/>
              <a:gd name="connsiteX2" fmla="*/ 2933700 w 6999287"/>
              <a:gd name="connsiteY2" fmla="*/ 90487 h 611187"/>
              <a:gd name="connsiteX3" fmla="*/ 6999287 w 6999287"/>
              <a:gd name="connsiteY3" fmla="*/ 87312 h 611187"/>
              <a:gd name="connsiteX4" fmla="*/ 6991350 w 6999287"/>
              <a:gd name="connsiteY4" fmla="*/ 173036 h 611187"/>
              <a:gd name="connsiteX5" fmla="*/ 2921000 w 6999287"/>
              <a:gd name="connsiteY5" fmla="*/ 166687 h 611187"/>
              <a:gd name="connsiteX6" fmla="*/ 2692400 w 6999287"/>
              <a:gd name="connsiteY6" fmla="*/ 103187 h 611187"/>
              <a:gd name="connsiteX7" fmla="*/ 2463800 w 6999287"/>
              <a:gd name="connsiteY7" fmla="*/ 77787 h 611187"/>
              <a:gd name="connsiteX8" fmla="*/ 1892300 w 6999287"/>
              <a:gd name="connsiteY8" fmla="*/ 611187 h 611187"/>
              <a:gd name="connsiteX9" fmla="*/ 0 w 6999287"/>
              <a:gd name="connsiteY9" fmla="*/ 598487 h 611187"/>
              <a:gd name="connsiteX10" fmla="*/ 0 w 6999287"/>
              <a:gd name="connsiteY10" fmla="*/ 0 h 611187"/>
              <a:gd name="connsiteX0" fmla="*/ 0 w 6999287"/>
              <a:gd name="connsiteY0" fmla="*/ 0 h 611187"/>
              <a:gd name="connsiteX1" fmla="*/ 2451102 w 6999287"/>
              <a:gd name="connsiteY1" fmla="*/ 1588 h 611187"/>
              <a:gd name="connsiteX2" fmla="*/ 2654300 w 6999287"/>
              <a:gd name="connsiteY2" fmla="*/ 1587 h 611187"/>
              <a:gd name="connsiteX3" fmla="*/ 2933700 w 6999287"/>
              <a:gd name="connsiteY3" fmla="*/ 90487 h 611187"/>
              <a:gd name="connsiteX4" fmla="*/ 6999287 w 6999287"/>
              <a:gd name="connsiteY4" fmla="*/ 87312 h 611187"/>
              <a:gd name="connsiteX5" fmla="*/ 6991350 w 6999287"/>
              <a:gd name="connsiteY5" fmla="*/ 173036 h 611187"/>
              <a:gd name="connsiteX6" fmla="*/ 2921000 w 6999287"/>
              <a:gd name="connsiteY6" fmla="*/ 166687 h 611187"/>
              <a:gd name="connsiteX7" fmla="*/ 2692400 w 6999287"/>
              <a:gd name="connsiteY7" fmla="*/ 103187 h 611187"/>
              <a:gd name="connsiteX8" fmla="*/ 2463800 w 6999287"/>
              <a:gd name="connsiteY8" fmla="*/ 77787 h 611187"/>
              <a:gd name="connsiteX9" fmla="*/ 1892300 w 6999287"/>
              <a:gd name="connsiteY9" fmla="*/ 611187 h 611187"/>
              <a:gd name="connsiteX10" fmla="*/ 0 w 6999287"/>
              <a:gd name="connsiteY10" fmla="*/ 598487 h 611187"/>
              <a:gd name="connsiteX11" fmla="*/ 0 w 6999287"/>
              <a:gd name="connsiteY11" fmla="*/ 0 h 611187"/>
              <a:gd name="connsiteX0" fmla="*/ 0 w 6999287"/>
              <a:gd name="connsiteY0" fmla="*/ 0 h 611187"/>
              <a:gd name="connsiteX1" fmla="*/ 2465390 w 6999287"/>
              <a:gd name="connsiteY1" fmla="*/ 1588 h 611187"/>
              <a:gd name="connsiteX2" fmla="*/ 2654300 w 6999287"/>
              <a:gd name="connsiteY2" fmla="*/ 1587 h 611187"/>
              <a:gd name="connsiteX3" fmla="*/ 2933700 w 6999287"/>
              <a:gd name="connsiteY3" fmla="*/ 90487 h 611187"/>
              <a:gd name="connsiteX4" fmla="*/ 6999287 w 6999287"/>
              <a:gd name="connsiteY4" fmla="*/ 87312 h 611187"/>
              <a:gd name="connsiteX5" fmla="*/ 6991350 w 6999287"/>
              <a:gd name="connsiteY5" fmla="*/ 173036 h 611187"/>
              <a:gd name="connsiteX6" fmla="*/ 2921000 w 6999287"/>
              <a:gd name="connsiteY6" fmla="*/ 166687 h 611187"/>
              <a:gd name="connsiteX7" fmla="*/ 2692400 w 6999287"/>
              <a:gd name="connsiteY7" fmla="*/ 103187 h 611187"/>
              <a:gd name="connsiteX8" fmla="*/ 2463800 w 6999287"/>
              <a:gd name="connsiteY8" fmla="*/ 77787 h 611187"/>
              <a:gd name="connsiteX9" fmla="*/ 1892300 w 6999287"/>
              <a:gd name="connsiteY9" fmla="*/ 611187 h 611187"/>
              <a:gd name="connsiteX10" fmla="*/ 0 w 6999287"/>
              <a:gd name="connsiteY10" fmla="*/ 598487 h 611187"/>
              <a:gd name="connsiteX11" fmla="*/ 0 w 6999287"/>
              <a:gd name="connsiteY11" fmla="*/ 0 h 611187"/>
              <a:gd name="connsiteX0" fmla="*/ 0 w 6999287"/>
              <a:gd name="connsiteY0" fmla="*/ 0 h 598487"/>
              <a:gd name="connsiteX1" fmla="*/ 2465390 w 6999287"/>
              <a:gd name="connsiteY1" fmla="*/ 1588 h 598487"/>
              <a:gd name="connsiteX2" fmla="*/ 2654300 w 6999287"/>
              <a:gd name="connsiteY2" fmla="*/ 1587 h 598487"/>
              <a:gd name="connsiteX3" fmla="*/ 2933700 w 6999287"/>
              <a:gd name="connsiteY3" fmla="*/ 90487 h 598487"/>
              <a:gd name="connsiteX4" fmla="*/ 6999287 w 6999287"/>
              <a:gd name="connsiteY4" fmla="*/ 87312 h 598487"/>
              <a:gd name="connsiteX5" fmla="*/ 6991350 w 6999287"/>
              <a:gd name="connsiteY5" fmla="*/ 173036 h 598487"/>
              <a:gd name="connsiteX6" fmla="*/ 2921000 w 6999287"/>
              <a:gd name="connsiteY6" fmla="*/ 166687 h 598487"/>
              <a:gd name="connsiteX7" fmla="*/ 2692400 w 6999287"/>
              <a:gd name="connsiteY7" fmla="*/ 103187 h 598487"/>
              <a:gd name="connsiteX8" fmla="*/ 2463800 w 6999287"/>
              <a:gd name="connsiteY8" fmla="*/ 77787 h 598487"/>
              <a:gd name="connsiteX9" fmla="*/ 0 w 6999287"/>
              <a:gd name="connsiteY9" fmla="*/ 598487 h 598487"/>
              <a:gd name="connsiteX10" fmla="*/ 0 w 6999287"/>
              <a:gd name="connsiteY10" fmla="*/ 0 h 598487"/>
              <a:gd name="connsiteX0" fmla="*/ 0 w 6999287"/>
              <a:gd name="connsiteY0" fmla="*/ 0 h 177478"/>
              <a:gd name="connsiteX1" fmla="*/ 2465390 w 6999287"/>
              <a:gd name="connsiteY1" fmla="*/ 1588 h 177478"/>
              <a:gd name="connsiteX2" fmla="*/ 2654300 w 6999287"/>
              <a:gd name="connsiteY2" fmla="*/ 1587 h 177478"/>
              <a:gd name="connsiteX3" fmla="*/ 2933700 w 6999287"/>
              <a:gd name="connsiteY3" fmla="*/ 90487 h 177478"/>
              <a:gd name="connsiteX4" fmla="*/ 6999287 w 6999287"/>
              <a:gd name="connsiteY4" fmla="*/ 87312 h 177478"/>
              <a:gd name="connsiteX5" fmla="*/ 6991350 w 6999287"/>
              <a:gd name="connsiteY5" fmla="*/ 173036 h 177478"/>
              <a:gd name="connsiteX6" fmla="*/ 2921000 w 6999287"/>
              <a:gd name="connsiteY6" fmla="*/ 166687 h 177478"/>
              <a:gd name="connsiteX7" fmla="*/ 2692400 w 6999287"/>
              <a:gd name="connsiteY7" fmla="*/ 103187 h 177478"/>
              <a:gd name="connsiteX8" fmla="*/ 2463800 w 6999287"/>
              <a:gd name="connsiteY8" fmla="*/ 77787 h 177478"/>
              <a:gd name="connsiteX9" fmla="*/ 4762 w 6999287"/>
              <a:gd name="connsiteY9" fmla="*/ 79375 h 177478"/>
              <a:gd name="connsiteX10" fmla="*/ 0 w 6999287"/>
              <a:gd name="connsiteY10" fmla="*/ 0 h 177478"/>
              <a:gd name="connsiteX0" fmla="*/ 0 w 6994525"/>
              <a:gd name="connsiteY0" fmla="*/ 77788 h 175891"/>
              <a:gd name="connsiteX1" fmla="*/ 2460628 w 6994525"/>
              <a:gd name="connsiteY1" fmla="*/ 1 h 175891"/>
              <a:gd name="connsiteX2" fmla="*/ 2649538 w 6994525"/>
              <a:gd name="connsiteY2" fmla="*/ 0 h 175891"/>
              <a:gd name="connsiteX3" fmla="*/ 2928938 w 6994525"/>
              <a:gd name="connsiteY3" fmla="*/ 88900 h 175891"/>
              <a:gd name="connsiteX4" fmla="*/ 6994525 w 6994525"/>
              <a:gd name="connsiteY4" fmla="*/ 85725 h 175891"/>
              <a:gd name="connsiteX5" fmla="*/ 6986588 w 6994525"/>
              <a:gd name="connsiteY5" fmla="*/ 171449 h 175891"/>
              <a:gd name="connsiteX6" fmla="*/ 2916238 w 6994525"/>
              <a:gd name="connsiteY6" fmla="*/ 165100 h 175891"/>
              <a:gd name="connsiteX7" fmla="*/ 2687638 w 6994525"/>
              <a:gd name="connsiteY7" fmla="*/ 101600 h 175891"/>
              <a:gd name="connsiteX8" fmla="*/ 2459038 w 6994525"/>
              <a:gd name="connsiteY8" fmla="*/ 76200 h 175891"/>
              <a:gd name="connsiteX9" fmla="*/ 0 w 6994525"/>
              <a:gd name="connsiteY9" fmla="*/ 77788 h 175891"/>
              <a:gd name="connsiteX0" fmla="*/ 0 w 7948613"/>
              <a:gd name="connsiteY0" fmla="*/ 77788 h 171978"/>
              <a:gd name="connsiteX1" fmla="*/ 2460628 w 7948613"/>
              <a:gd name="connsiteY1" fmla="*/ 1 h 171978"/>
              <a:gd name="connsiteX2" fmla="*/ 2649538 w 7948613"/>
              <a:gd name="connsiteY2" fmla="*/ 0 h 171978"/>
              <a:gd name="connsiteX3" fmla="*/ 2928938 w 7948613"/>
              <a:gd name="connsiteY3" fmla="*/ 88900 h 171978"/>
              <a:gd name="connsiteX4" fmla="*/ 6994525 w 7948613"/>
              <a:gd name="connsiteY4" fmla="*/ 85725 h 171978"/>
              <a:gd name="connsiteX5" fmla="*/ 7948613 w 7948613"/>
              <a:gd name="connsiteY5" fmla="*/ 166687 h 171978"/>
              <a:gd name="connsiteX6" fmla="*/ 2916238 w 7948613"/>
              <a:gd name="connsiteY6" fmla="*/ 165100 h 171978"/>
              <a:gd name="connsiteX7" fmla="*/ 2687638 w 7948613"/>
              <a:gd name="connsiteY7" fmla="*/ 101600 h 171978"/>
              <a:gd name="connsiteX8" fmla="*/ 2459038 w 7948613"/>
              <a:gd name="connsiteY8" fmla="*/ 76200 h 171978"/>
              <a:gd name="connsiteX9" fmla="*/ 0 w 7948613"/>
              <a:gd name="connsiteY9" fmla="*/ 77788 h 171978"/>
              <a:gd name="connsiteX0" fmla="*/ 0 w 7924800"/>
              <a:gd name="connsiteY0" fmla="*/ 77788 h 168464"/>
              <a:gd name="connsiteX1" fmla="*/ 2460628 w 7924800"/>
              <a:gd name="connsiteY1" fmla="*/ 1 h 168464"/>
              <a:gd name="connsiteX2" fmla="*/ 2649538 w 7924800"/>
              <a:gd name="connsiteY2" fmla="*/ 0 h 168464"/>
              <a:gd name="connsiteX3" fmla="*/ 2928938 w 7924800"/>
              <a:gd name="connsiteY3" fmla="*/ 88900 h 168464"/>
              <a:gd name="connsiteX4" fmla="*/ 6994525 w 7924800"/>
              <a:gd name="connsiteY4" fmla="*/ 85725 h 168464"/>
              <a:gd name="connsiteX5" fmla="*/ 7924800 w 7924800"/>
              <a:gd name="connsiteY5" fmla="*/ 161925 h 168464"/>
              <a:gd name="connsiteX6" fmla="*/ 2916238 w 7924800"/>
              <a:gd name="connsiteY6" fmla="*/ 165100 h 168464"/>
              <a:gd name="connsiteX7" fmla="*/ 2687638 w 7924800"/>
              <a:gd name="connsiteY7" fmla="*/ 101600 h 168464"/>
              <a:gd name="connsiteX8" fmla="*/ 2459038 w 7924800"/>
              <a:gd name="connsiteY8" fmla="*/ 76200 h 168464"/>
              <a:gd name="connsiteX9" fmla="*/ 0 w 7924800"/>
              <a:gd name="connsiteY9" fmla="*/ 77788 h 168464"/>
              <a:gd name="connsiteX0" fmla="*/ 0 w 8294162"/>
              <a:gd name="connsiteY0" fmla="*/ 77788 h 168812"/>
              <a:gd name="connsiteX1" fmla="*/ 2460628 w 8294162"/>
              <a:gd name="connsiteY1" fmla="*/ 1 h 168812"/>
              <a:gd name="connsiteX2" fmla="*/ 2649538 w 8294162"/>
              <a:gd name="connsiteY2" fmla="*/ 0 h 168812"/>
              <a:gd name="connsiteX3" fmla="*/ 2928938 w 8294162"/>
              <a:gd name="connsiteY3" fmla="*/ 88900 h 168812"/>
              <a:gd name="connsiteX4" fmla="*/ 7918450 w 8294162"/>
              <a:gd name="connsiteY4" fmla="*/ 80962 h 168812"/>
              <a:gd name="connsiteX5" fmla="*/ 7924800 w 8294162"/>
              <a:gd name="connsiteY5" fmla="*/ 161925 h 168812"/>
              <a:gd name="connsiteX6" fmla="*/ 2916238 w 8294162"/>
              <a:gd name="connsiteY6" fmla="*/ 165100 h 168812"/>
              <a:gd name="connsiteX7" fmla="*/ 2687638 w 8294162"/>
              <a:gd name="connsiteY7" fmla="*/ 101600 h 168812"/>
              <a:gd name="connsiteX8" fmla="*/ 2459038 w 8294162"/>
              <a:gd name="connsiteY8" fmla="*/ 76200 h 168812"/>
              <a:gd name="connsiteX9" fmla="*/ 0 w 8294162"/>
              <a:gd name="connsiteY9" fmla="*/ 77788 h 168812"/>
              <a:gd name="connsiteX0" fmla="*/ 0 w 8294162"/>
              <a:gd name="connsiteY0" fmla="*/ 77788 h 168117"/>
              <a:gd name="connsiteX1" fmla="*/ 2460628 w 8294162"/>
              <a:gd name="connsiteY1" fmla="*/ 1 h 168117"/>
              <a:gd name="connsiteX2" fmla="*/ 2649538 w 8294162"/>
              <a:gd name="connsiteY2" fmla="*/ 0 h 168117"/>
              <a:gd name="connsiteX3" fmla="*/ 2928938 w 8294162"/>
              <a:gd name="connsiteY3" fmla="*/ 88900 h 168117"/>
              <a:gd name="connsiteX4" fmla="*/ 7918450 w 8294162"/>
              <a:gd name="connsiteY4" fmla="*/ 90487 h 168117"/>
              <a:gd name="connsiteX5" fmla="*/ 7924800 w 8294162"/>
              <a:gd name="connsiteY5" fmla="*/ 161925 h 168117"/>
              <a:gd name="connsiteX6" fmla="*/ 2916238 w 8294162"/>
              <a:gd name="connsiteY6" fmla="*/ 165100 h 168117"/>
              <a:gd name="connsiteX7" fmla="*/ 2687638 w 8294162"/>
              <a:gd name="connsiteY7" fmla="*/ 101600 h 168117"/>
              <a:gd name="connsiteX8" fmla="*/ 2459038 w 8294162"/>
              <a:gd name="connsiteY8" fmla="*/ 76200 h 168117"/>
              <a:gd name="connsiteX9" fmla="*/ 0 w 8294162"/>
              <a:gd name="connsiteY9" fmla="*/ 77788 h 168117"/>
              <a:gd name="connsiteX0" fmla="*/ 0 w 8294162"/>
              <a:gd name="connsiteY0" fmla="*/ 77788 h 171630"/>
              <a:gd name="connsiteX1" fmla="*/ 2460628 w 8294162"/>
              <a:gd name="connsiteY1" fmla="*/ 1 h 171630"/>
              <a:gd name="connsiteX2" fmla="*/ 2649538 w 8294162"/>
              <a:gd name="connsiteY2" fmla="*/ 0 h 171630"/>
              <a:gd name="connsiteX3" fmla="*/ 2928938 w 8294162"/>
              <a:gd name="connsiteY3" fmla="*/ 88900 h 171630"/>
              <a:gd name="connsiteX4" fmla="*/ 7918450 w 8294162"/>
              <a:gd name="connsiteY4" fmla="*/ 90487 h 171630"/>
              <a:gd name="connsiteX5" fmla="*/ 7924800 w 8294162"/>
              <a:gd name="connsiteY5" fmla="*/ 166688 h 171630"/>
              <a:gd name="connsiteX6" fmla="*/ 2916238 w 8294162"/>
              <a:gd name="connsiteY6" fmla="*/ 165100 h 171630"/>
              <a:gd name="connsiteX7" fmla="*/ 2687638 w 8294162"/>
              <a:gd name="connsiteY7" fmla="*/ 101600 h 171630"/>
              <a:gd name="connsiteX8" fmla="*/ 2459038 w 8294162"/>
              <a:gd name="connsiteY8" fmla="*/ 76200 h 171630"/>
              <a:gd name="connsiteX9" fmla="*/ 0 w 8294162"/>
              <a:gd name="connsiteY9" fmla="*/ 77788 h 171630"/>
              <a:gd name="connsiteX0" fmla="*/ 0 w 7924800"/>
              <a:gd name="connsiteY0" fmla="*/ 77788 h 171630"/>
              <a:gd name="connsiteX1" fmla="*/ 2460628 w 7924800"/>
              <a:gd name="connsiteY1" fmla="*/ 1 h 171630"/>
              <a:gd name="connsiteX2" fmla="*/ 2649538 w 7924800"/>
              <a:gd name="connsiteY2" fmla="*/ 0 h 171630"/>
              <a:gd name="connsiteX3" fmla="*/ 2928938 w 7924800"/>
              <a:gd name="connsiteY3" fmla="*/ 88900 h 171630"/>
              <a:gd name="connsiteX4" fmla="*/ 7918450 w 7924800"/>
              <a:gd name="connsiteY4" fmla="*/ 90487 h 171630"/>
              <a:gd name="connsiteX5" fmla="*/ 7924800 w 7924800"/>
              <a:gd name="connsiteY5" fmla="*/ 166688 h 171630"/>
              <a:gd name="connsiteX6" fmla="*/ 2916238 w 7924800"/>
              <a:gd name="connsiteY6" fmla="*/ 165100 h 171630"/>
              <a:gd name="connsiteX7" fmla="*/ 2687638 w 7924800"/>
              <a:gd name="connsiteY7" fmla="*/ 101600 h 171630"/>
              <a:gd name="connsiteX8" fmla="*/ 2459038 w 7924800"/>
              <a:gd name="connsiteY8" fmla="*/ 76200 h 171630"/>
              <a:gd name="connsiteX9" fmla="*/ 0 w 7924800"/>
              <a:gd name="connsiteY9" fmla="*/ 77788 h 17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24800" h="171630">
                <a:moveTo>
                  <a:pt x="0" y="77788"/>
                </a:moveTo>
                <a:lnTo>
                  <a:pt x="2460628" y="1"/>
                </a:lnTo>
                <a:lnTo>
                  <a:pt x="2649538" y="0"/>
                </a:lnTo>
                <a:lnTo>
                  <a:pt x="2928938" y="88900"/>
                </a:lnTo>
                <a:lnTo>
                  <a:pt x="7918450" y="90487"/>
                </a:lnTo>
                <a:lnTo>
                  <a:pt x="7924800" y="166688"/>
                </a:lnTo>
                <a:cubicBezTo>
                  <a:pt x="7091098" y="179124"/>
                  <a:pt x="4284134" y="164041"/>
                  <a:pt x="2916238" y="165100"/>
                </a:cubicBezTo>
                <a:lnTo>
                  <a:pt x="2687638" y="101600"/>
                </a:lnTo>
                <a:lnTo>
                  <a:pt x="2459038" y="76200"/>
                </a:lnTo>
                <a:lnTo>
                  <a:pt x="0" y="77788"/>
                </a:lnTo>
                <a:close/>
              </a:path>
            </a:pathLst>
          </a:custGeom>
          <a:gradFill flip="none" rotWithShape="1">
            <a:gsLst>
              <a:gs pos="0">
                <a:srgbClr val="000082"/>
              </a:gs>
              <a:gs pos="21000">
                <a:srgbClr val="66008F"/>
              </a:gs>
              <a:gs pos="51000">
                <a:srgbClr val="BA0066"/>
              </a:gs>
              <a:gs pos="73000">
                <a:srgbClr val="FF0000"/>
              </a:gs>
              <a:gs pos="100000">
                <a:srgbClr val="FF8200"/>
              </a:gs>
            </a:gsLst>
            <a:path path="circle">
              <a:fillToRect l="100000" t="100000"/>
            </a:path>
            <a:tileRect r="-100000" b="-100000"/>
          </a:gra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20" name="Oval 74"/>
          <p:cNvSpPr>
            <a:spLocks noChangeArrowheads="1"/>
          </p:cNvSpPr>
          <p:nvPr>
            <p:custDataLst>
              <p:tags r:id="rId9"/>
            </p:custDataLst>
          </p:nvPr>
        </p:nvSpPr>
        <p:spPr bwMode="auto">
          <a:xfrm>
            <a:off x="2389098" y="1509349"/>
            <a:ext cx="1319717" cy="538956"/>
          </a:xfrm>
          <a:prstGeom prst="ellipse">
            <a:avLst/>
          </a:prstGeom>
          <a:gradFill rotWithShape="1">
            <a:gsLst>
              <a:gs pos="0">
                <a:schemeClr val="bg2"/>
              </a:gs>
              <a:gs pos="100000">
                <a:schemeClr val="bg1"/>
              </a:gs>
            </a:gsLst>
            <a:lin ang="2700000" scaled="1"/>
          </a:gradFill>
          <a:ln w="12700">
            <a:solidFill>
              <a:schemeClr val="folHlink"/>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1400" dirty="0" smtClean="0"/>
              <a:t>Soda Ash 16%</a:t>
            </a:r>
            <a:endParaRPr lang="en-US" altLang="en-US" sz="1400" dirty="0"/>
          </a:p>
        </p:txBody>
      </p:sp>
      <p:sp>
        <p:nvSpPr>
          <p:cNvPr id="21" name="Oval 75"/>
          <p:cNvSpPr>
            <a:spLocks noChangeArrowheads="1"/>
          </p:cNvSpPr>
          <p:nvPr>
            <p:custDataLst>
              <p:tags r:id="rId10"/>
            </p:custDataLst>
          </p:nvPr>
        </p:nvSpPr>
        <p:spPr bwMode="auto">
          <a:xfrm>
            <a:off x="2411716" y="970394"/>
            <a:ext cx="1319717" cy="538955"/>
          </a:xfrm>
          <a:prstGeom prst="ellipse">
            <a:avLst/>
          </a:prstGeom>
          <a:gradFill rotWithShape="1">
            <a:gsLst>
              <a:gs pos="0">
                <a:schemeClr val="accent1"/>
              </a:gs>
              <a:gs pos="100000">
                <a:schemeClr val="bg1"/>
              </a:gs>
            </a:gsLst>
            <a:lin ang="2700000" scaled="1"/>
          </a:gradFill>
          <a:ln w="12700">
            <a:solidFill>
              <a:schemeClr val="folHlink"/>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1400" dirty="0" smtClean="0"/>
              <a:t>Silica Sand 51%</a:t>
            </a:r>
            <a:endParaRPr lang="en-US" altLang="en-US" sz="1400" dirty="0"/>
          </a:p>
        </p:txBody>
      </p:sp>
      <p:sp>
        <p:nvSpPr>
          <p:cNvPr id="22" name="Oval 76"/>
          <p:cNvSpPr>
            <a:spLocks noChangeArrowheads="1"/>
          </p:cNvSpPr>
          <p:nvPr>
            <p:custDataLst>
              <p:tags r:id="rId11"/>
            </p:custDataLst>
          </p:nvPr>
        </p:nvSpPr>
        <p:spPr bwMode="auto">
          <a:xfrm>
            <a:off x="2389098" y="2048305"/>
            <a:ext cx="1319716" cy="538956"/>
          </a:xfrm>
          <a:prstGeom prst="ellipse">
            <a:avLst/>
          </a:prstGeom>
          <a:gradFill rotWithShape="1">
            <a:gsLst>
              <a:gs pos="0">
                <a:srgbClr val="009900"/>
              </a:gs>
              <a:gs pos="100000">
                <a:schemeClr val="bg1"/>
              </a:gs>
            </a:gsLst>
            <a:lin ang="2700000" scaled="1"/>
          </a:gradFill>
          <a:ln w="12700">
            <a:solidFill>
              <a:schemeClr val="folHlink"/>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1400" dirty="0" smtClean="0"/>
              <a:t>Dolomite 13%</a:t>
            </a:r>
            <a:endParaRPr lang="en-US" altLang="en-US" sz="1400" dirty="0"/>
          </a:p>
        </p:txBody>
      </p:sp>
      <p:sp>
        <p:nvSpPr>
          <p:cNvPr id="23" name="Oval 77"/>
          <p:cNvSpPr>
            <a:spLocks noChangeArrowheads="1"/>
          </p:cNvSpPr>
          <p:nvPr>
            <p:custDataLst>
              <p:tags r:id="rId12"/>
            </p:custDataLst>
          </p:nvPr>
        </p:nvSpPr>
        <p:spPr bwMode="auto">
          <a:xfrm>
            <a:off x="2388463" y="2554273"/>
            <a:ext cx="1319717" cy="538956"/>
          </a:xfrm>
          <a:prstGeom prst="ellipse">
            <a:avLst/>
          </a:prstGeom>
          <a:gradFill rotWithShape="1">
            <a:gsLst>
              <a:gs pos="0">
                <a:srgbClr val="333399"/>
              </a:gs>
              <a:gs pos="100000">
                <a:schemeClr val="bg1"/>
              </a:gs>
            </a:gsLst>
            <a:lin ang="2700000" scaled="1"/>
          </a:gradFill>
          <a:ln w="12700">
            <a:solidFill>
              <a:schemeClr val="folHlink"/>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1400" dirty="0" smtClean="0"/>
              <a:t>Lime stone 4%</a:t>
            </a:r>
            <a:endParaRPr lang="en-US" altLang="en-US" sz="1400" dirty="0"/>
          </a:p>
        </p:txBody>
      </p:sp>
      <p:sp>
        <p:nvSpPr>
          <p:cNvPr id="24" name="Oval 74"/>
          <p:cNvSpPr>
            <a:spLocks noChangeArrowheads="1"/>
          </p:cNvSpPr>
          <p:nvPr>
            <p:custDataLst>
              <p:tags r:id="rId13"/>
            </p:custDataLst>
          </p:nvPr>
        </p:nvSpPr>
        <p:spPr bwMode="auto">
          <a:xfrm>
            <a:off x="2399285" y="3094630"/>
            <a:ext cx="1319717" cy="538956"/>
          </a:xfrm>
          <a:prstGeom prst="ellipse">
            <a:avLst/>
          </a:prstGeom>
          <a:gradFill rotWithShape="1">
            <a:gsLst>
              <a:gs pos="0">
                <a:schemeClr val="bg2"/>
              </a:gs>
              <a:gs pos="100000">
                <a:schemeClr val="bg1"/>
              </a:gs>
            </a:gsLst>
            <a:lin ang="2700000" scaled="1"/>
          </a:gradFill>
          <a:ln w="12700">
            <a:solidFill>
              <a:schemeClr val="folHlink"/>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1400" dirty="0" smtClean="0"/>
              <a:t>Sodium</a:t>
            </a:r>
          </a:p>
          <a:p>
            <a:pPr algn="ctr"/>
            <a:r>
              <a:rPr lang="en-US" altLang="en-US" sz="1400" dirty="0" smtClean="0"/>
              <a:t> </a:t>
            </a:r>
            <a:r>
              <a:rPr lang="en-US" altLang="en-US" sz="1400" dirty="0"/>
              <a:t>S</a:t>
            </a:r>
            <a:r>
              <a:rPr lang="en-US" altLang="en-US" sz="1400" dirty="0" smtClean="0"/>
              <a:t>ulphate 1%</a:t>
            </a:r>
            <a:endParaRPr lang="en-US" altLang="en-US" sz="1400" dirty="0"/>
          </a:p>
        </p:txBody>
      </p:sp>
      <p:sp>
        <p:nvSpPr>
          <p:cNvPr id="25" name="Oval 74"/>
          <p:cNvSpPr>
            <a:spLocks noChangeArrowheads="1"/>
          </p:cNvSpPr>
          <p:nvPr>
            <p:custDataLst>
              <p:tags r:id="rId14"/>
            </p:custDataLst>
          </p:nvPr>
        </p:nvSpPr>
        <p:spPr bwMode="auto">
          <a:xfrm>
            <a:off x="2399285" y="3634690"/>
            <a:ext cx="1319717" cy="684076"/>
          </a:xfrm>
          <a:prstGeom prst="ellipse">
            <a:avLst/>
          </a:prstGeom>
          <a:gradFill rotWithShape="1">
            <a:gsLst>
              <a:gs pos="0">
                <a:schemeClr val="bg2"/>
              </a:gs>
              <a:gs pos="100000">
                <a:schemeClr val="bg1"/>
              </a:gs>
            </a:gsLst>
            <a:lin ang="2700000" scaled="1"/>
          </a:gradFill>
          <a:ln w="12700">
            <a:solidFill>
              <a:schemeClr val="folHlink"/>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1400" dirty="0" smtClean="0"/>
              <a:t>Crushed</a:t>
            </a:r>
          </a:p>
          <a:p>
            <a:pPr algn="ctr"/>
            <a:r>
              <a:rPr lang="en-US" altLang="en-US" sz="1400" dirty="0" smtClean="0"/>
              <a:t> glass 15%</a:t>
            </a:r>
            <a:endParaRPr lang="en-US" altLang="en-US" sz="1400" dirty="0"/>
          </a:p>
        </p:txBody>
      </p:sp>
      <p:sp>
        <p:nvSpPr>
          <p:cNvPr id="26" name="Rectangle 25"/>
          <p:cNvSpPr/>
          <p:nvPr/>
        </p:nvSpPr>
        <p:spPr bwMode="auto">
          <a:xfrm>
            <a:off x="2411716" y="6103886"/>
            <a:ext cx="1746627" cy="288032"/>
          </a:xfrm>
          <a:prstGeom prst="rect">
            <a:avLst/>
          </a:prstGeom>
          <a:noFill/>
          <a:ln w="12700" cap="flat" cmpd="sng" algn="ctr">
            <a:no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CorpoS" pitchFamily="2" charset="0"/>
              </a:rPr>
              <a:t>Melting furnace</a:t>
            </a:r>
          </a:p>
        </p:txBody>
      </p:sp>
      <p:sp>
        <p:nvSpPr>
          <p:cNvPr id="27" name="Rectangle 26"/>
          <p:cNvSpPr/>
          <p:nvPr>
            <p:custDataLst>
              <p:tags r:id="rId15"/>
            </p:custDataLst>
          </p:nvPr>
        </p:nvSpPr>
        <p:spPr bwMode="auto">
          <a:xfrm>
            <a:off x="5536268" y="5445056"/>
            <a:ext cx="1751765" cy="288032"/>
          </a:xfrm>
          <a:prstGeom prst="rect">
            <a:avLst/>
          </a:prstGeom>
          <a:no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CorpoS" pitchFamily="2" charset="0"/>
              </a:rPr>
              <a:t>Molten tin</a:t>
            </a:r>
          </a:p>
        </p:txBody>
      </p:sp>
      <p:sp>
        <p:nvSpPr>
          <p:cNvPr id="28" name="Rectangle 27"/>
          <p:cNvSpPr/>
          <p:nvPr>
            <p:custDataLst>
              <p:tags r:id="rId16"/>
            </p:custDataLst>
          </p:nvPr>
        </p:nvSpPr>
        <p:spPr bwMode="auto">
          <a:xfrm>
            <a:off x="5274049" y="4609168"/>
            <a:ext cx="1265696" cy="486606"/>
          </a:xfrm>
          <a:prstGeom prst="rect">
            <a:avLst/>
          </a:prstGeom>
          <a:no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CorpoS" pitchFamily="2" charset="0"/>
              </a:rPr>
              <a:t>Heat &amp; Fire polishing zone</a:t>
            </a:r>
          </a:p>
        </p:txBody>
      </p:sp>
      <p:sp>
        <p:nvSpPr>
          <p:cNvPr id="29" name="Rectangle 28"/>
          <p:cNvSpPr/>
          <p:nvPr>
            <p:custDataLst>
              <p:tags r:id="rId17"/>
            </p:custDataLst>
          </p:nvPr>
        </p:nvSpPr>
        <p:spPr bwMode="auto">
          <a:xfrm>
            <a:off x="6606197" y="4591718"/>
            <a:ext cx="999157" cy="486606"/>
          </a:xfrm>
          <a:prstGeom prst="rect">
            <a:avLst/>
          </a:prstGeom>
          <a:no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b="1" dirty="0" smtClean="0"/>
              <a:t>Controlled</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CorpoS" pitchFamily="2" charset="0"/>
              </a:rPr>
              <a:t>Cooling zone</a:t>
            </a:r>
          </a:p>
        </p:txBody>
      </p:sp>
      <p:sp>
        <p:nvSpPr>
          <p:cNvPr id="30" name="Freeform 29"/>
          <p:cNvSpPr/>
          <p:nvPr>
            <p:custDataLst>
              <p:tags r:id="rId18"/>
            </p:custDataLst>
          </p:nvPr>
        </p:nvSpPr>
        <p:spPr bwMode="auto">
          <a:xfrm>
            <a:off x="2362898" y="5173586"/>
            <a:ext cx="2622759" cy="609600"/>
          </a:xfrm>
          <a:custGeom>
            <a:avLst/>
            <a:gdLst>
              <a:gd name="connsiteX0" fmla="*/ 0 w 7061200"/>
              <a:gd name="connsiteY0" fmla="*/ 38100 h 609600"/>
              <a:gd name="connsiteX1" fmla="*/ 2654300 w 7061200"/>
              <a:gd name="connsiteY1" fmla="*/ 0 h 609600"/>
              <a:gd name="connsiteX2" fmla="*/ 2933700 w 7061200"/>
              <a:gd name="connsiteY2" fmla="*/ 88900 h 609600"/>
              <a:gd name="connsiteX3" fmla="*/ 7061200 w 7061200"/>
              <a:gd name="connsiteY3" fmla="*/ 114300 h 609600"/>
              <a:gd name="connsiteX4" fmla="*/ 7048500 w 7061200"/>
              <a:gd name="connsiteY4" fmla="*/ 190500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381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48500 w 7061200"/>
              <a:gd name="connsiteY4" fmla="*/ 190500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38975 w 7061200"/>
              <a:gd name="connsiteY4" fmla="*/ 176212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24687 w 7061200"/>
              <a:gd name="connsiteY4" fmla="*/ 166687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19925 w 7061200"/>
              <a:gd name="connsiteY4" fmla="*/ 152400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19925 w 7061200"/>
              <a:gd name="connsiteY4" fmla="*/ 171450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29450 w 7061200"/>
              <a:gd name="connsiteY4" fmla="*/ 190500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29450 w 7061200"/>
              <a:gd name="connsiteY4" fmla="*/ 204787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29450 w 7061200"/>
              <a:gd name="connsiteY4" fmla="*/ 157162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29450 w 7061200"/>
              <a:gd name="connsiteY4" fmla="*/ 185737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29450 w 7061200"/>
              <a:gd name="connsiteY4" fmla="*/ 171449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061200"/>
              <a:gd name="connsiteY0" fmla="*/ 12700 h 609600"/>
              <a:gd name="connsiteX1" fmla="*/ 2654300 w 7061200"/>
              <a:gd name="connsiteY1" fmla="*/ 0 h 609600"/>
              <a:gd name="connsiteX2" fmla="*/ 2933700 w 7061200"/>
              <a:gd name="connsiteY2" fmla="*/ 88900 h 609600"/>
              <a:gd name="connsiteX3" fmla="*/ 7061200 w 7061200"/>
              <a:gd name="connsiteY3" fmla="*/ 114300 h 609600"/>
              <a:gd name="connsiteX4" fmla="*/ 7024688 w 7061200"/>
              <a:gd name="connsiteY4" fmla="*/ 161924 h 609600"/>
              <a:gd name="connsiteX5" fmla="*/ 2921000 w 7061200"/>
              <a:gd name="connsiteY5" fmla="*/ 165100 h 609600"/>
              <a:gd name="connsiteX6" fmla="*/ 2692400 w 7061200"/>
              <a:gd name="connsiteY6" fmla="*/ 101600 h 609600"/>
              <a:gd name="connsiteX7" fmla="*/ 2463800 w 7061200"/>
              <a:gd name="connsiteY7" fmla="*/ 76200 h 609600"/>
              <a:gd name="connsiteX8" fmla="*/ 1892300 w 7061200"/>
              <a:gd name="connsiteY8" fmla="*/ 609600 h 609600"/>
              <a:gd name="connsiteX9" fmla="*/ 0 w 7061200"/>
              <a:gd name="connsiteY9" fmla="*/ 596900 h 609600"/>
              <a:gd name="connsiteX10" fmla="*/ 0 w 7061200"/>
              <a:gd name="connsiteY10" fmla="*/ 12700 h 609600"/>
              <a:gd name="connsiteX0" fmla="*/ 0 w 7329489"/>
              <a:gd name="connsiteY0" fmla="*/ 12700 h 609600"/>
              <a:gd name="connsiteX1" fmla="*/ 2654300 w 7329489"/>
              <a:gd name="connsiteY1" fmla="*/ 0 h 609600"/>
              <a:gd name="connsiteX2" fmla="*/ 2933700 w 7329489"/>
              <a:gd name="connsiteY2" fmla="*/ 88900 h 609600"/>
              <a:gd name="connsiteX3" fmla="*/ 7027862 w 7329489"/>
              <a:gd name="connsiteY3" fmla="*/ 104775 h 609600"/>
              <a:gd name="connsiteX4" fmla="*/ 7024688 w 7329489"/>
              <a:gd name="connsiteY4" fmla="*/ 161924 h 609600"/>
              <a:gd name="connsiteX5" fmla="*/ 2921000 w 7329489"/>
              <a:gd name="connsiteY5" fmla="*/ 165100 h 609600"/>
              <a:gd name="connsiteX6" fmla="*/ 2692400 w 7329489"/>
              <a:gd name="connsiteY6" fmla="*/ 101600 h 609600"/>
              <a:gd name="connsiteX7" fmla="*/ 2463800 w 7329489"/>
              <a:gd name="connsiteY7" fmla="*/ 76200 h 609600"/>
              <a:gd name="connsiteX8" fmla="*/ 1892300 w 7329489"/>
              <a:gd name="connsiteY8" fmla="*/ 609600 h 609600"/>
              <a:gd name="connsiteX9" fmla="*/ 0 w 7329489"/>
              <a:gd name="connsiteY9" fmla="*/ 596900 h 609600"/>
              <a:gd name="connsiteX10" fmla="*/ 0 w 7329489"/>
              <a:gd name="connsiteY10" fmla="*/ 12700 h 609600"/>
              <a:gd name="connsiteX0" fmla="*/ 0 w 7329489"/>
              <a:gd name="connsiteY0" fmla="*/ 12700 h 609600"/>
              <a:gd name="connsiteX1" fmla="*/ 2654300 w 7329489"/>
              <a:gd name="connsiteY1" fmla="*/ 0 h 609600"/>
              <a:gd name="connsiteX2" fmla="*/ 2933700 w 7329489"/>
              <a:gd name="connsiteY2" fmla="*/ 88900 h 609600"/>
              <a:gd name="connsiteX3" fmla="*/ 7027862 w 7329489"/>
              <a:gd name="connsiteY3" fmla="*/ 76200 h 609600"/>
              <a:gd name="connsiteX4" fmla="*/ 7024688 w 7329489"/>
              <a:gd name="connsiteY4" fmla="*/ 161924 h 609600"/>
              <a:gd name="connsiteX5" fmla="*/ 2921000 w 7329489"/>
              <a:gd name="connsiteY5" fmla="*/ 165100 h 609600"/>
              <a:gd name="connsiteX6" fmla="*/ 2692400 w 7329489"/>
              <a:gd name="connsiteY6" fmla="*/ 101600 h 609600"/>
              <a:gd name="connsiteX7" fmla="*/ 2463800 w 7329489"/>
              <a:gd name="connsiteY7" fmla="*/ 76200 h 609600"/>
              <a:gd name="connsiteX8" fmla="*/ 1892300 w 7329489"/>
              <a:gd name="connsiteY8" fmla="*/ 609600 h 609600"/>
              <a:gd name="connsiteX9" fmla="*/ 0 w 7329489"/>
              <a:gd name="connsiteY9" fmla="*/ 596900 h 609600"/>
              <a:gd name="connsiteX10" fmla="*/ 0 w 7329489"/>
              <a:gd name="connsiteY10" fmla="*/ 12700 h 609600"/>
              <a:gd name="connsiteX0" fmla="*/ 0 w 7324755"/>
              <a:gd name="connsiteY0" fmla="*/ 12700 h 609600"/>
              <a:gd name="connsiteX1" fmla="*/ 2654300 w 7324755"/>
              <a:gd name="connsiteY1" fmla="*/ 0 h 609600"/>
              <a:gd name="connsiteX2" fmla="*/ 2933700 w 7324755"/>
              <a:gd name="connsiteY2" fmla="*/ 88900 h 609600"/>
              <a:gd name="connsiteX3" fmla="*/ 7013574 w 7324755"/>
              <a:gd name="connsiteY3" fmla="*/ 38100 h 609600"/>
              <a:gd name="connsiteX4" fmla="*/ 7024688 w 7324755"/>
              <a:gd name="connsiteY4" fmla="*/ 161924 h 609600"/>
              <a:gd name="connsiteX5" fmla="*/ 2921000 w 7324755"/>
              <a:gd name="connsiteY5" fmla="*/ 165100 h 609600"/>
              <a:gd name="connsiteX6" fmla="*/ 2692400 w 7324755"/>
              <a:gd name="connsiteY6" fmla="*/ 101600 h 609600"/>
              <a:gd name="connsiteX7" fmla="*/ 2463800 w 7324755"/>
              <a:gd name="connsiteY7" fmla="*/ 76200 h 609600"/>
              <a:gd name="connsiteX8" fmla="*/ 1892300 w 7324755"/>
              <a:gd name="connsiteY8" fmla="*/ 609600 h 609600"/>
              <a:gd name="connsiteX9" fmla="*/ 0 w 7324755"/>
              <a:gd name="connsiteY9" fmla="*/ 596900 h 609600"/>
              <a:gd name="connsiteX10" fmla="*/ 0 w 7324755"/>
              <a:gd name="connsiteY10" fmla="*/ 12700 h 609600"/>
              <a:gd name="connsiteX0" fmla="*/ 0 w 7324755"/>
              <a:gd name="connsiteY0" fmla="*/ 12700 h 609600"/>
              <a:gd name="connsiteX1" fmla="*/ 2654300 w 7324755"/>
              <a:gd name="connsiteY1" fmla="*/ 0 h 609600"/>
              <a:gd name="connsiteX2" fmla="*/ 2933700 w 7324755"/>
              <a:gd name="connsiteY2" fmla="*/ 88900 h 609600"/>
              <a:gd name="connsiteX3" fmla="*/ 7013574 w 7324755"/>
              <a:gd name="connsiteY3" fmla="*/ 100012 h 609600"/>
              <a:gd name="connsiteX4" fmla="*/ 7024688 w 7324755"/>
              <a:gd name="connsiteY4" fmla="*/ 161924 h 609600"/>
              <a:gd name="connsiteX5" fmla="*/ 2921000 w 7324755"/>
              <a:gd name="connsiteY5" fmla="*/ 165100 h 609600"/>
              <a:gd name="connsiteX6" fmla="*/ 2692400 w 7324755"/>
              <a:gd name="connsiteY6" fmla="*/ 101600 h 609600"/>
              <a:gd name="connsiteX7" fmla="*/ 2463800 w 7324755"/>
              <a:gd name="connsiteY7" fmla="*/ 76200 h 609600"/>
              <a:gd name="connsiteX8" fmla="*/ 1892300 w 7324755"/>
              <a:gd name="connsiteY8" fmla="*/ 609600 h 609600"/>
              <a:gd name="connsiteX9" fmla="*/ 0 w 7324755"/>
              <a:gd name="connsiteY9" fmla="*/ 596900 h 609600"/>
              <a:gd name="connsiteX10" fmla="*/ 0 w 7324755"/>
              <a:gd name="connsiteY10" fmla="*/ 12700 h 609600"/>
              <a:gd name="connsiteX0" fmla="*/ 0 w 7324755"/>
              <a:gd name="connsiteY0" fmla="*/ 12700 h 609600"/>
              <a:gd name="connsiteX1" fmla="*/ 2654300 w 7324755"/>
              <a:gd name="connsiteY1" fmla="*/ 0 h 609600"/>
              <a:gd name="connsiteX2" fmla="*/ 2933700 w 7324755"/>
              <a:gd name="connsiteY2" fmla="*/ 88900 h 609600"/>
              <a:gd name="connsiteX3" fmla="*/ 7013574 w 7324755"/>
              <a:gd name="connsiteY3" fmla="*/ 114300 h 609600"/>
              <a:gd name="connsiteX4" fmla="*/ 7024688 w 7324755"/>
              <a:gd name="connsiteY4" fmla="*/ 161924 h 609600"/>
              <a:gd name="connsiteX5" fmla="*/ 2921000 w 7324755"/>
              <a:gd name="connsiteY5" fmla="*/ 165100 h 609600"/>
              <a:gd name="connsiteX6" fmla="*/ 2692400 w 7324755"/>
              <a:gd name="connsiteY6" fmla="*/ 101600 h 609600"/>
              <a:gd name="connsiteX7" fmla="*/ 2463800 w 7324755"/>
              <a:gd name="connsiteY7" fmla="*/ 76200 h 609600"/>
              <a:gd name="connsiteX8" fmla="*/ 1892300 w 7324755"/>
              <a:gd name="connsiteY8" fmla="*/ 609600 h 609600"/>
              <a:gd name="connsiteX9" fmla="*/ 0 w 7324755"/>
              <a:gd name="connsiteY9" fmla="*/ 596900 h 609600"/>
              <a:gd name="connsiteX10" fmla="*/ 0 w 7324755"/>
              <a:gd name="connsiteY10" fmla="*/ 12700 h 609600"/>
              <a:gd name="connsiteX0" fmla="*/ 0 w 7321648"/>
              <a:gd name="connsiteY0" fmla="*/ 12700 h 609600"/>
              <a:gd name="connsiteX1" fmla="*/ 2654300 w 7321648"/>
              <a:gd name="connsiteY1" fmla="*/ 0 h 609600"/>
              <a:gd name="connsiteX2" fmla="*/ 2933700 w 7321648"/>
              <a:gd name="connsiteY2" fmla="*/ 88900 h 609600"/>
              <a:gd name="connsiteX3" fmla="*/ 7004049 w 7321648"/>
              <a:gd name="connsiteY3" fmla="*/ 100012 h 609600"/>
              <a:gd name="connsiteX4" fmla="*/ 7024688 w 7321648"/>
              <a:gd name="connsiteY4" fmla="*/ 161924 h 609600"/>
              <a:gd name="connsiteX5" fmla="*/ 2921000 w 7321648"/>
              <a:gd name="connsiteY5" fmla="*/ 165100 h 609600"/>
              <a:gd name="connsiteX6" fmla="*/ 2692400 w 7321648"/>
              <a:gd name="connsiteY6" fmla="*/ 101600 h 609600"/>
              <a:gd name="connsiteX7" fmla="*/ 2463800 w 7321648"/>
              <a:gd name="connsiteY7" fmla="*/ 76200 h 609600"/>
              <a:gd name="connsiteX8" fmla="*/ 1892300 w 7321648"/>
              <a:gd name="connsiteY8" fmla="*/ 609600 h 609600"/>
              <a:gd name="connsiteX9" fmla="*/ 0 w 7321648"/>
              <a:gd name="connsiteY9" fmla="*/ 596900 h 609600"/>
              <a:gd name="connsiteX10" fmla="*/ 0 w 7321648"/>
              <a:gd name="connsiteY10" fmla="*/ 12700 h 609600"/>
              <a:gd name="connsiteX0" fmla="*/ 0 w 7320109"/>
              <a:gd name="connsiteY0" fmla="*/ 12700 h 609600"/>
              <a:gd name="connsiteX1" fmla="*/ 2654300 w 7320109"/>
              <a:gd name="connsiteY1" fmla="*/ 0 h 609600"/>
              <a:gd name="connsiteX2" fmla="*/ 2933700 w 7320109"/>
              <a:gd name="connsiteY2" fmla="*/ 88900 h 609600"/>
              <a:gd name="connsiteX3" fmla="*/ 6999287 w 7320109"/>
              <a:gd name="connsiteY3" fmla="*/ 85725 h 609600"/>
              <a:gd name="connsiteX4" fmla="*/ 7024688 w 7320109"/>
              <a:gd name="connsiteY4" fmla="*/ 161924 h 609600"/>
              <a:gd name="connsiteX5" fmla="*/ 2921000 w 7320109"/>
              <a:gd name="connsiteY5" fmla="*/ 165100 h 609600"/>
              <a:gd name="connsiteX6" fmla="*/ 2692400 w 7320109"/>
              <a:gd name="connsiteY6" fmla="*/ 101600 h 609600"/>
              <a:gd name="connsiteX7" fmla="*/ 2463800 w 7320109"/>
              <a:gd name="connsiteY7" fmla="*/ 76200 h 609600"/>
              <a:gd name="connsiteX8" fmla="*/ 1892300 w 7320109"/>
              <a:gd name="connsiteY8" fmla="*/ 609600 h 609600"/>
              <a:gd name="connsiteX9" fmla="*/ 0 w 7320109"/>
              <a:gd name="connsiteY9" fmla="*/ 596900 h 609600"/>
              <a:gd name="connsiteX10" fmla="*/ 0 w 7320109"/>
              <a:gd name="connsiteY10" fmla="*/ 12700 h 609600"/>
              <a:gd name="connsiteX0" fmla="*/ 0 w 7024688"/>
              <a:gd name="connsiteY0" fmla="*/ 12700 h 609600"/>
              <a:gd name="connsiteX1" fmla="*/ 2654300 w 7024688"/>
              <a:gd name="connsiteY1" fmla="*/ 0 h 609600"/>
              <a:gd name="connsiteX2" fmla="*/ 2933700 w 7024688"/>
              <a:gd name="connsiteY2" fmla="*/ 88900 h 609600"/>
              <a:gd name="connsiteX3" fmla="*/ 6999287 w 7024688"/>
              <a:gd name="connsiteY3" fmla="*/ 85725 h 609600"/>
              <a:gd name="connsiteX4" fmla="*/ 7024688 w 7024688"/>
              <a:gd name="connsiteY4" fmla="*/ 161924 h 609600"/>
              <a:gd name="connsiteX5" fmla="*/ 2921000 w 7024688"/>
              <a:gd name="connsiteY5" fmla="*/ 165100 h 609600"/>
              <a:gd name="connsiteX6" fmla="*/ 2692400 w 7024688"/>
              <a:gd name="connsiteY6" fmla="*/ 101600 h 609600"/>
              <a:gd name="connsiteX7" fmla="*/ 2463800 w 7024688"/>
              <a:gd name="connsiteY7" fmla="*/ 76200 h 609600"/>
              <a:gd name="connsiteX8" fmla="*/ 1892300 w 7024688"/>
              <a:gd name="connsiteY8" fmla="*/ 609600 h 609600"/>
              <a:gd name="connsiteX9" fmla="*/ 0 w 7024688"/>
              <a:gd name="connsiteY9" fmla="*/ 596900 h 609600"/>
              <a:gd name="connsiteX10" fmla="*/ 0 w 7024688"/>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91350 w 6999287"/>
              <a:gd name="connsiteY4" fmla="*/ 161924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91350 w 6999287"/>
              <a:gd name="connsiteY4" fmla="*/ 176212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91350 w 6999287"/>
              <a:gd name="connsiteY4" fmla="*/ 152399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96113 w 6999287"/>
              <a:gd name="connsiteY4" fmla="*/ 157162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91350 w 6999287"/>
              <a:gd name="connsiteY4" fmla="*/ 142874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91350 w 6999287"/>
              <a:gd name="connsiteY4" fmla="*/ 157162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77063 w 6999287"/>
              <a:gd name="connsiteY4" fmla="*/ 142875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81825 w 6999287"/>
              <a:gd name="connsiteY4" fmla="*/ 152400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86587 w 6999287"/>
              <a:gd name="connsiteY4" fmla="*/ 166688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86587 w 6999287"/>
              <a:gd name="connsiteY4" fmla="*/ 152400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86587 w 6999287"/>
              <a:gd name="connsiteY4" fmla="*/ 161925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86587 w 6999287"/>
              <a:gd name="connsiteY4" fmla="*/ 152400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86587 w 6999287"/>
              <a:gd name="connsiteY4" fmla="*/ 166687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12700 h 609600"/>
              <a:gd name="connsiteX1" fmla="*/ 2654300 w 6999287"/>
              <a:gd name="connsiteY1" fmla="*/ 0 h 609600"/>
              <a:gd name="connsiteX2" fmla="*/ 2933700 w 6999287"/>
              <a:gd name="connsiteY2" fmla="*/ 88900 h 609600"/>
              <a:gd name="connsiteX3" fmla="*/ 6999287 w 6999287"/>
              <a:gd name="connsiteY3" fmla="*/ 85725 h 609600"/>
              <a:gd name="connsiteX4" fmla="*/ 6986587 w 6999287"/>
              <a:gd name="connsiteY4" fmla="*/ 157162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12700 h 609600"/>
              <a:gd name="connsiteX0" fmla="*/ 0 w 6999287"/>
              <a:gd name="connsiteY0" fmla="*/ 0 h 630237"/>
              <a:gd name="connsiteX1" fmla="*/ 2654300 w 6999287"/>
              <a:gd name="connsiteY1" fmla="*/ 20637 h 630237"/>
              <a:gd name="connsiteX2" fmla="*/ 2933700 w 6999287"/>
              <a:gd name="connsiteY2" fmla="*/ 109537 h 630237"/>
              <a:gd name="connsiteX3" fmla="*/ 6999287 w 6999287"/>
              <a:gd name="connsiteY3" fmla="*/ 106362 h 630237"/>
              <a:gd name="connsiteX4" fmla="*/ 6986587 w 6999287"/>
              <a:gd name="connsiteY4" fmla="*/ 177799 h 630237"/>
              <a:gd name="connsiteX5" fmla="*/ 2921000 w 6999287"/>
              <a:gd name="connsiteY5" fmla="*/ 185737 h 630237"/>
              <a:gd name="connsiteX6" fmla="*/ 2692400 w 6999287"/>
              <a:gd name="connsiteY6" fmla="*/ 122237 h 630237"/>
              <a:gd name="connsiteX7" fmla="*/ 2463800 w 6999287"/>
              <a:gd name="connsiteY7" fmla="*/ 96837 h 630237"/>
              <a:gd name="connsiteX8" fmla="*/ 1892300 w 6999287"/>
              <a:gd name="connsiteY8" fmla="*/ 630237 h 630237"/>
              <a:gd name="connsiteX9" fmla="*/ 0 w 6999287"/>
              <a:gd name="connsiteY9" fmla="*/ 617537 h 630237"/>
              <a:gd name="connsiteX10" fmla="*/ 0 w 6999287"/>
              <a:gd name="connsiteY10" fmla="*/ 0 h 630237"/>
              <a:gd name="connsiteX0" fmla="*/ 0 w 6999287"/>
              <a:gd name="connsiteY0" fmla="*/ 7938 h 609600"/>
              <a:gd name="connsiteX1" fmla="*/ 2654300 w 6999287"/>
              <a:gd name="connsiteY1" fmla="*/ 0 h 609600"/>
              <a:gd name="connsiteX2" fmla="*/ 2933700 w 6999287"/>
              <a:gd name="connsiteY2" fmla="*/ 88900 h 609600"/>
              <a:gd name="connsiteX3" fmla="*/ 6999287 w 6999287"/>
              <a:gd name="connsiteY3" fmla="*/ 85725 h 609600"/>
              <a:gd name="connsiteX4" fmla="*/ 6986587 w 6999287"/>
              <a:gd name="connsiteY4" fmla="*/ 157162 h 609600"/>
              <a:gd name="connsiteX5" fmla="*/ 2921000 w 6999287"/>
              <a:gd name="connsiteY5" fmla="*/ 165100 h 609600"/>
              <a:gd name="connsiteX6" fmla="*/ 2692400 w 6999287"/>
              <a:gd name="connsiteY6" fmla="*/ 101600 h 609600"/>
              <a:gd name="connsiteX7" fmla="*/ 2463800 w 6999287"/>
              <a:gd name="connsiteY7" fmla="*/ 76200 h 609600"/>
              <a:gd name="connsiteX8" fmla="*/ 1892300 w 6999287"/>
              <a:gd name="connsiteY8" fmla="*/ 609600 h 609600"/>
              <a:gd name="connsiteX9" fmla="*/ 0 w 6999287"/>
              <a:gd name="connsiteY9" fmla="*/ 596900 h 609600"/>
              <a:gd name="connsiteX10" fmla="*/ 0 w 6999287"/>
              <a:gd name="connsiteY10" fmla="*/ 7938 h 609600"/>
              <a:gd name="connsiteX0" fmla="*/ 0 w 7008812"/>
              <a:gd name="connsiteY0" fmla="*/ 0 h 615950"/>
              <a:gd name="connsiteX1" fmla="*/ 2663825 w 7008812"/>
              <a:gd name="connsiteY1" fmla="*/ 6350 h 615950"/>
              <a:gd name="connsiteX2" fmla="*/ 2943225 w 7008812"/>
              <a:gd name="connsiteY2" fmla="*/ 95250 h 615950"/>
              <a:gd name="connsiteX3" fmla="*/ 7008812 w 7008812"/>
              <a:gd name="connsiteY3" fmla="*/ 92075 h 615950"/>
              <a:gd name="connsiteX4" fmla="*/ 6996112 w 7008812"/>
              <a:gd name="connsiteY4" fmla="*/ 163512 h 615950"/>
              <a:gd name="connsiteX5" fmla="*/ 2930525 w 7008812"/>
              <a:gd name="connsiteY5" fmla="*/ 171450 h 615950"/>
              <a:gd name="connsiteX6" fmla="*/ 2701925 w 7008812"/>
              <a:gd name="connsiteY6" fmla="*/ 107950 h 615950"/>
              <a:gd name="connsiteX7" fmla="*/ 2473325 w 7008812"/>
              <a:gd name="connsiteY7" fmla="*/ 82550 h 615950"/>
              <a:gd name="connsiteX8" fmla="*/ 1901825 w 7008812"/>
              <a:gd name="connsiteY8" fmla="*/ 615950 h 615950"/>
              <a:gd name="connsiteX9" fmla="*/ 9525 w 7008812"/>
              <a:gd name="connsiteY9" fmla="*/ 603250 h 615950"/>
              <a:gd name="connsiteX10" fmla="*/ 0 w 7008812"/>
              <a:gd name="connsiteY10" fmla="*/ 0 h 615950"/>
              <a:gd name="connsiteX0" fmla="*/ 0 w 7008812"/>
              <a:gd name="connsiteY0" fmla="*/ 12700 h 609600"/>
              <a:gd name="connsiteX1" fmla="*/ 2663825 w 7008812"/>
              <a:gd name="connsiteY1" fmla="*/ 0 h 609600"/>
              <a:gd name="connsiteX2" fmla="*/ 2943225 w 7008812"/>
              <a:gd name="connsiteY2" fmla="*/ 88900 h 609600"/>
              <a:gd name="connsiteX3" fmla="*/ 7008812 w 7008812"/>
              <a:gd name="connsiteY3" fmla="*/ 85725 h 609600"/>
              <a:gd name="connsiteX4" fmla="*/ 6996112 w 7008812"/>
              <a:gd name="connsiteY4" fmla="*/ 157162 h 609600"/>
              <a:gd name="connsiteX5" fmla="*/ 2930525 w 7008812"/>
              <a:gd name="connsiteY5" fmla="*/ 165100 h 609600"/>
              <a:gd name="connsiteX6" fmla="*/ 2701925 w 7008812"/>
              <a:gd name="connsiteY6" fmla="*/ 101600 h 609600"/>
              <a:gd name="connsiteX7" fmla="*/ 2473325 w 7008812"/>
              <a:gd name="connsiteY7" fmla="*/ 76200 h 609600"/>
              <a:gd name="connsiteX8" fmla="*/ 1901825 w 7008812"/>
              <a:gd name="connsiteY8" fmla="*/ 609600 h 609600"/>
              <a:gd name="connsiteX9" fmla="*/ 9525 w 7008812"/>
              <a:gd name="connsiteY9" fmla="*/ 596900 h 609600"/>
              <a:gd name="connsiteX10" fmla="*/ 0 w 7008812"/>
              <a:gd name="connsiteY10" fmla="*/ 12700 h 609600"/>
              <a:gd name="connsiteX0" fmla="*/ 0 w 7008812"/>
              <a:gd name="connsiteY0" fmla="*/ 0 h 611187"/>
              <a:gd name="connsiteX1" fmla="*/ 2663825 w 7008812"/>
              <a:gd name="connsiteY1" fmla="*/ 1587 h 611187"/>
              <a:gd name="connsiteX2" fmla="*/ 2943225 w 7008812"/>
              <a:gd name="connsiteY2" fmla="*/ 90487 h 611187"/>
              <a:gd name="connsiteX3" fmla="*/ 7008812 w 7008812"/>
              <a:gd name="connsiteY3" fmla="*/ 87312 h 611187"/>
              <a:gd name="connsiteX4" fmla="*/ 6996112 w 7008812"/>
              <a:gd name="connsiteY4" fmla="*/ 158749 h 611187"/>
              <a:gd name="connsiteX5" fmla="*/ 2930525 w 7008812"/>
              <a:gd name="connsiteY5" fmla="*/ 166687 h 611187"/>
              <a:gd name="connsiteX6" fmla="*/ 2701925 w 7008812"/>
              <a:gd name="connsiteY6" fmla="*/ 103187 h 611187"/>
              <a:gd name="connsiteX7" fmla="*/ 2473325 w 7008812"/>
              <a:gd name="connsiteY7" fmla="*/ 77787 h 611187"/>
              <a:gd name="connsiteX8" fmla="*/ 1901825 w 7008812"/>
              <a:gd name="connsiteY8" fmla="*/ 611187 h 611187"/>
              <a:gd name="connsiteX9" fmla="*/ 9525 w 7008812"/>
              <a:gd name="connsiteY9" fmla="*/ 598487 h 611187"/>
              <a:gd name="connsiteX10" fmla="*/ 0 w 7008812"/>
              <a:gd name="connsiteY10" fmla="*/ 0 h 611187"/>
              <a:gd name="connsiteX0" fmla="*/ 0 w 6999287"/>
              <a:gd name="connsiteY0" fmla="*/ 0 h 611187"/>
              <a:gd name="connsiteX1" fmla="*/ 2654300 w 6999287"/>
              <a:gd name="connsiteY1" fmla="*/ 1587 h 611187"/>
              <a:gd name="connsiteX2" fmla="*/ 2933700 w 6999287"/>
              <a:gd name="connsiteY2" fmla="*/ 90487 h 611187"/>
              <a:gd name="connsiteX3" fmla="*/ 6999287 w 6999287"/>
              <a:gd name="connsiteY3" fmla="*/ 87312 h 611187"/>
              <a:gd name="connsiteX4" fmla="*/ 6986587 w 6999287"/>
              <a:gd name="connsiteY4" fmla="*/ 158749 h 611187"/>
              <a:gd name="connsiteX5" fmla="*/ 2921000 w 6999287"/>
              <a:gd name="connsiteY5" fmla="*/ 166687 h 611187"/>
              <a:gd name="connsiteX6" fmla="*/ 2692400 w 6999287"/>
              <a:gd name="connsiteY6" fmla="*/ 103187 h 611187"/>
              <a:gd name="connsiteX7" fmla="*/ 2463800 w 6999287"/>
              <a:gd name="connsiteY7" fmla="*/ 77787 h 611187"/>
              <a:gd name="connsiteX8" fmla="*/ 1892300 w 6999287"/>
              <a:gd name="connsiteY8" fmla="*/ 611187 h 611187"/>
              <a:gd name="connsiteX9" fmla="*/ 0 w 6999287"/>
              <a:gd name="connsiteY9" fmla="*/ 598487 h 611187"/>
              <a:gd name="connsiteX10" fmla="*/ 0 w 6999287"/>
              <a:gd name="connsiteY10" fmla="*/ 0 h 611187"/>
              <a:gd name="connsiteX0" fmla="*/ 0 w 6999287"/>
              <a:gd name="connsiteY0" fmla="*/ 0 h 611187"/>
              <a:gd name="connsiteX1" fmla="*/ 2654300 w 6999287"/>
              <a:gd name="connsiteY1" fmla="*/ 1587 h 611187"/>
              <a:gd name="connsiteX2" fmla="*/ 2933700 w 6999287"/>
              <a:gd name="connsiteY2" fmla="*/ 90487 h 611187"/>
              <a:gd name="connsiteX3" fmla="*/ 6999287 w 6999287"/>
              <a:gd name="connsiteY3" fmla="*/ 87312 h 611187"/>
              <a:gd name="connsiteX4" fmla="*/ 6986587 w 6999287"/>
              <a:gd name="connsiteY4" fmla="*/ 158749 h 611187"/>
              <a:gd name="connsiteX5" fmla="*/ 2921000 w 6999287"/>
              <a:gd name="connsiteY5" fmla="*/ 166687 h 611187"/>
              <a:gd name="connsiteX6" fmla="*/ 2692400 w 6999287"/>
              <a:gd name="connsiteY6" fmla="*/ 103187 h 611187"/>
              <a:gd name="connsiteX7" fmla="*/ 2463800 w 6999287"/>
              <a:gd name="connsiteY7" fmla="*/ 77787 h 611187"/>
              <a:gd name="connsiteX8" fmla="*/ 1892300 w 6999287"/>
              <a:gd name="connsiteY8" fmla="*/ 611187 h 611187"/>
              <a:gd name="connsiteX9" fmla="*/ 0 w 6999287"/>
              <a:gd name="connsiteY9" fmla="*/ 598487 h 611187"/>
              <a:gd name="connsiteX10" fmla="*/ 0 w 6999287"/>
              <a:gd name="connsiteY10" fmla="*/ 0 h 611187"/>
              <a:gd name="connsiteX0" fmla="*/ 0 w 6999287"/>
              <a:gd name="connsiteY0" fmla="*/ 0 h 611187"/>
              <a:gd name="connsiteX1" fmla="*/ 2654300 w 6999287"/>
              <a:gd name="connsiteY1" fmla="*/ 1587 h 611187"/>
              <a:gd name="connsiteX2" fmla="*/ 2933700 w 6999287"/>
              <a:gd name="connsiteY2" fmla="*/ 90487 h 611187"/>
              <a:gd name="connsiteX3" fmla="*/ 6999287 w 6999287"/>
              <a:gd name="connsiteY3" fmla="*/ 87312 h 611187"/>
              <a:gd name="connsiteX4" fmla="*/ 6991350 w 6999287"/>
              <a:gd name="connsiteY4" fmla="*/ 173036 h 611187"/>
              <a:gd name="connsiteX5" fmla="*/ 2921000 w 6999287"/>
              <a:gd name="connsiteY5" fmla="*/ 166687 h 611187"/>
              <a:gd name="connsiteX6" fmla="*/ 2692400 w 6999287"/>
              <a:gd name="connsiteY6" fmla="*/ 103187 h 611187"/>
              <a:gd name="connsiteX7" fmla="*/ 2463800 w 6999287"/>
              <a:gd name="connsiteY7" fmla="*/ 77787 h 611187"/>
              <a:gd name="connsiteX8" fmla="*/ 1892300 w 6999287"/>
              <a:gd name="connsiteY8" fmla="*/ 611187 h 611187"/>
              <a:gd name="connsiteX9" fmla="*/ 0 w 6999287"/>
              <a:gd name="connsiteY9" fmla="*/ 598487 h 611187"/>
              <a:gd name="connsiteX10" fmla="*/ 0 w 6999287"/>
              <a:gd name="connsiteY10" fmla="*/ 0 h 611187"/>
              <a:gd name="connsiteX0" fmla="*/ 6348 w 7005635"/>
              <a:gd name="connsiteY0" fmla="*/ 0 h 611187"/>
              <a:gd name="connsiteX1" fmla="*/ 2660648 w 7005635"/>
              <a:gd name="connsiteY1" fmla="*/ 1587 h 611187"/>
              <a:gd name="connsiteX2" fmla="*/ 2940048 w 7005635"/>
              <a:gd name="connsiteY2" fmla="*/ 90487 h 611187"/>
              <a:gd name="connsiteX3" fmla="*/ 7005635 w 7005635"/>
              <a:gd name="connsiteY3" fmla="*/ 87312 h 611187"/>
              <a:gd name="connsiteX4" fmla="*/ 6997698 w 7005635"/>
              <a:gd name="connsiteY4" fmla="*/ 173036 h 611187"/>
              <a:gd name="connsiteX5" fmla="*/ 2927348 w 7005635"/>
              <a:gd name="connsiteY5" fmla="*/ 166687 h 611187"/>
              <a:gd name="connsiteX6" fmla="*/ 2698748 w 7005635"/>
              <a:gd name="connsiteY6" fmla="*/ 103187 h 611187"/>
              <a:gd name="connsiteX7" fmla="*/ 2470148 w 7005635"/>
              <a:gd name="connsiteY7" fmla="*/ 77787 h 611187"/>
              <a:gd name="connsiteX8" fmla="*/ 1898648 w 7005635"/>
              <a:gd name="connsiteY8" fmla="*/ 611187 h 611187"/>
              <a:gd name="connsiteX9" fmla="*/ 6348 w 7005635"/>
              <a:gd name="connsiteY9" fmla="*/ 598487 h 611187"/>
              <a:gd name="connsiteX10" fmla="*/ 0 w 7005635"/>
              <a:gd name="connsiteY10" fmla="*/ 63501 h 611187"/>
              <a:gd name="connsiteX11" fmla="*/ 6348 w 7005635"/>
              <a:gd name="connsiteY11" fmla="*/ 0 h 611187"/>
              <a:gd name="connsiteX0" fmla="*/ 6348 w 7005635"/>
              <a:gd name="connsiteY0" fmla="*/ 0 h 611187"/>
              <a:gd name="connsiteX1" fmla="*/ 2940048 w 7005635"/>
              <a:gd name="connsiteY1" fmla="*/ 90487 h 611187"/>
              <a:gd name="connsiteX2" fmla="*/ 7005635 w 7005635"/>
              <a:gd name="connsiteY2" fmla="*/ 87312 h 611187"/>
              <a:gd name="connsiteX3" fmla="*/ 6997698 w 7005635"/>
              <a:gd name="connsiteY3" fmla="*/ 173036 h 611187"/>
              <a:gd name="connsiteX4" fmla="*/ 2927348 w 7005635"/>
              <a:gd name="connsiteY4" fmla="*/ 166687 h 611187"/>
              <a:gd name="connsiteX5" fmla="*/ 2698748 w 7005635"/>
              <a:gd name="connsiteY5" fmla="*/ 103187 h 611187"/>
              <a:gd name="connsiteX6" fmla="*/ 2470148 w 7005635"/>
              <a:gd name="connsiteY6" fmla="*/ 77787 h 611187"/>
              <a:gd name="connsiteX7" fmla="*/ 1898648 w 7005635"/>
              <a:gd name="connsiteY7" fmla="*/ 611187 h 611187"/>
              <a:gd name="connsiteX8" fmla="*/ 6348 w 7005635"/>
              <a:gd name="connsiteY8" fmla="*/ 598487 h 611187"/>
              <a:gd name="connsiteX9" fmla="*/ 0 w 7005635"/>
              <a:gd name="connsiteY9" fmla="*/ 63501 h 611187"/>
              <a:gd name="connsiteX10" fmla="*/ 6348 w 7005635"/>
              <a:gd name="connsiteY10" fmla="*/ 0 h 611187"/>
              <a:gd name="connsiteX0" fmla="*/ 6348 w 7005635"/>
              <a:gd name="connsiteY0" fmla="*/ 0 h 611187"/>
              <a:gd name="connsiteX1" fmla="*/ 2940048 w 7005635"/>
              <a:gd name="connsiteY1" fmla="*/ 90487 h 611187"/>
              <a:gd name="connsiteX2" fmla="*/ 7005635 w 7005635"/>
              <a:gd name="connsiteY2" fmla="*/ 87312 h 611187"/>
              <a:gd name="connsiteX3" fmla="*/ 6997698 w 7005635"/>
              <a:gd name="connsiteY3" fmla="*/ 173036 h 611187"/>
              <a:gd name="connsiteX4" fmla="*/ 2927348 w 7005635"/>
              <a:gd name="connsiteY4" fmla="*/ 166687 h 611187"/>
              <a:gd name="connsiteX5" fmla="*/ 2470148 w 7005635"/>
              <a:gd name="connsiteY5" fmla="*/ 77787 h 611187"/>
              <a:gd name="connsiteX6" fmla="*/ 1898648 w 7005635"/>
              <a:gd name="connsiteY6" fmla="*/ 611187 h 611187"/>
              <a:gd name="connsiteX7" fmla="*/ 6348 w 7005635"/>
              <a:gd name="connsiteY7" fmla="*/ 598487 h 611187"/>
              <a:gd name="connsiteX8" fmla="*/ 0 w 7005635"/>
              <a:gd name="connsiteY8" fmla="*/ 63501 h 611187"/>
              <a:gd name="connsiteX9" fmla="*/ 6348 w 7005635"/>
              <a:gd name="connsiteY9" fmla="*/ 0 h 611187"/>
              <a:gd name="connsiteX0" fmla="*/ 6348 w 7005635"/>
              <a:gd name="connsiteY0" fmla="*/ 0 h 611187"/>
              <a:gd name="connsiteX1" fmla="*/ 7005635 w 7005635"/>
              <a:gd name="connsiteY1" fmla="*/ 87312 h 611187"/>
              <a:gd name="connsiteX2" fmla="*/ 6997698 w 7005635"/>
              <a:gd name="connsiteY2" fmla="*/ 173036 h 611187"/>
              <a:gd name="connsiteX3" fmla="*/ 2927348 w 7005635"/>
              <a:gd name="connsiteY3" fmla="*/ 166687 h 611187"/>
              <a:gd name="connsiteX4" fmla="*/ 2470148 w 7005635"/>
              <a:gd name="connsiteY4" fmla="*/ 77787 h 611187"/>
              <a:gd name="connsiteX5" fmla="*/ 1898648 w 7005635"/>
              <a:gd name="connsiteY5" fmla="*/ 611187 h 611187"/>
              <a:gd name="connsiteX6" fmla="*/ 6348 w 7005635"/>
              <a:gd name="connsiteY6" fmla="*/ 598487 h 611187"/>
              <a:gd name="connsiteX7" fmla="*/ 0 w 7005635"/>
              <a:gd name="connsiteY7" fmla="*/ 63501 h 611187"/>
              <a:gd name="connsiteX8" fmla="*/ 6348 w 7005635"/>
              <a:gd name="connsiteY8" fmla="*/ 0 h 611187"/>
              <a:gd name="connsiteX0" fmla="*/ 6348 w 7335136"/>
              <a:gd name="connsiteY0" fmla="*/ 0 h 611187"/>
              <a:gd name="connsiteX1" fmla="*/ 7005635 w 7335136"/>
              <a:gd name="connsiteY1" fmla="*/ 87312 h 611187"/>
              <a:gd name="connsiteX2" fmla="*/ 6997698 w 7335136"/>
              <a:gd name="connsiteY2" fmla="*/ 173036 h 611187"/>
              <a:gd name="connsiteX3" fmla="*/ 2470148 w 7335136"/>
              <a:gd name="connsiteY3" fmla="*/ 77787 h 611187"/>
              <a:gd name="connsiteX4" fmla="*/ 1898648 w 7335136"/>
              <a:gd name="connsiteY4" fmla="*/ 611187 h 611187"/>
              <a:gd name="connsiteX5" fmla="*/ 6348 w 7335136"/>
              <a:gd name="connsiteY5" fmla="*/ 598487 h 611187"/>
              <a:gd name="connsiteX6" fmla="*/ 0 w 7335136"/>
              <a:gd name="connsiteY6" fmla="*/ 63501 h 611187"/>
              <a:gd name="connsiteX7" fmla="*/ 6348 w 7335136"/>
              <a:gd name="connsiteY7" fmla="*/ 0 h 611187"/>
              <a:gd name="connsiteX0" fmla="*/ 0 w 7335136"/>
              <a:gd name="connsiteY0" fmla="*/ 4209 h 551895"/>
              <a:gd name="connsiteX1" fmla="*/ 7005635 w 7335136"/>
              <a:gd name="connsiteY1" fmla="*/ 28020 h 551895"/>
              <a:gd name="connsiteX2" fmla="*/ 6997698 w 7335136"/>
              <a:gd name="connsiteY2" fmla="*/ 113744 h 551895"/>
              <a:gd name="connsiteX3" fmla="*/ 2470148 w 7335136"/>
              <a:gd name="connsiteY3" fmla="*/ 18495 h 551895"/>
              <a:gd name="connsiteX4" fmla="*/ 1898648 w 7335136"/>
              <a:gd name="connsiteY4" fmla="*/ 551895 h 551895"/>
              <a:gd name="connsiteX5" fmla="*/ 6348 w 7335136"/>
              <a:gd name="connsiteY5" fmla="*/ 539195 h 551895"/>
              <a:gd name="connsiteX6" fmla="*/ 0 w 7335136"/>
              <a:gd name="connsiteY6" fmla="*/ 4209 h 551895"/>
              <a:gd name="connsiteX0" fmla="*/ 0 w 6997698"/>
              <a:gd name="connsiteY0" fmla="*/ 4209 h 551895"/>
              <a:gd name="connsiteX1" fmla="*/ 6997698 w 6997698"/>
              <a:gd name="connsiteY1" fmla="*/ 113744 h 551895"/>
              <a:gd name="connsiteX2" fmla="*/ 2470148 w 6997698"/>
              <a:gd name="connsiteY2" fmla="*/ 18495 h 551895"/>
              <a:gd name="connsiteX3" fmla="*/ 1898648 w 6997698"/>
              <a:gd name="connsiteY3" fmla="*/ 551895 h 551895"/>
              <a:gd name="connsiteX4" fmla="*/ 6348 w 6997698"/>
              <a:gd name="connsiteY4" fmla="*/ 539195 h 551895"/>
              <a:gd name="connsiteX5" fmla="*/ 0 w 6997698"/>
              <a:gd name="connsiteY5" fmla="*/ 4209 h 551895"/>
              <a:gd name="connsiteX0" fmla="*/ 0 w 2470148"/>
              <a:gd name="connsiteY0" fmla="*/ 0 h 547686"/>
              <a:gd name="connsiteX1" fmla="*/ 2470148 w 2470148"/>
              <a:gd name="connsiteY1" fmla="*/ 14286 h 547686"/>
              <a:gd name="connsiteX2" fmla="*/ 1898648 w 2470148"/>
              <a:gd name="connsiteY2" fmla="*/ 547686 h 547686"/>
              <a:gd name="connsiteX3" fmla="*/ 6348 w 2470148"/>
              <a:gd name="connsiteY3" fmla="*/ 534986 h 547686"/>
              <a:gd name="connsiteX4" fmla="*/ 0 w 2470148"/>
              <a:gd name="connsiteY4" fmla="*/ 0 h 547686"/>
              <a:gd name="connsiteX0" fmla="*/ 0 w 2551110"/>
              <a:gd name="connsiteY0" fmla="*/ 66676 h 614362"/>
              <a:gd name="connsiteX1" fmla="*/ 2551110 w 2551110"/>
              <a:gd name="connsiteY1" fmla="*/ 0 h 614362"/>
              <a:gd name="connsiteX2" fmla="*/ 1898648 w 2551110"/>
              <a:gd name="connsiteY2" fmla="*/ 614362 h 614362"/>
              <a:gd name="connsiteX3" fmla="*/ 6348 w 2551110"/>
              <a:gd name="connsiteY3" fmla="*/ 601662 h 614362"/>
              <a:gd name="connsiteX4" fmla="*/ 0 w 2551110"/>
              <a:gd name="connsiteY4" fmla="*/ 66676 h 614362"/>
              <a:gd name="connsiteX0" fmla="*/ 0 w 2551110"/>
              <a:gd name="connsiteY0" fmla="*/ 28576 h 614362"/>
              <a:gd name="connsiteX1" fmla="*/ 2551110 w 2551110"/>
              <a:gd name="connsiteY1" fmla="*/ 0 h 614362"/>
              <a:gd name="connsiteX2" fmla="*/ 1898648 w 2551110"/>
              <a:gd name="connsiteY2" fmla="*/ 614362 h 614362"/>
              <a:gd name="connsiteX3" fmla="*/ 6348 w 2551110"/>
              <a:gd name="connsiteY3" fmla="*/ 601662 h 614362"/>
              <a:gd name="connsiteX4" fmla="*/ 0 w 2551110"/>
              <a:gd name="connsiteY4" fmla="*/ 28576 h 614362"/>
              <a:gd name="connsiteX0" fmla="*/ 0 w 2551110"/>
              <a:gd name="connsiteY0" fmla="*/ 9526 h 614362"/>
              <a:gd name="connsiteX1" fmla="*/ 2551110 w 2551110"/>
              <a:gd name="connsiteY1" fmla="*/ 0 h 614362"/>
              <a:gd name="connsiteX2" fmla="*/ 1898648 w 2551110"/>
              <a:gd name="connsiteY2" fmla="*/ 614362 h 614362"/>
              <a:gd name="connsiteX3" fmla="*/ 6348 w 2551110"/>
              <a:gd name="connsiteY3" fmla="*/ 601662 h 614362"/>
              <a:gd name="connsiteX4" fmla="*/ 0 w 2551110"/>
              <a:gd name="connsiteY4" fmla="*/ 9526 h 614362"/>
              <a:gd name="connsiteX0" fmla="*/ 7940 w 2559050"/>
              <a:gd name="connsiteY0" fmla="*/ 9526 h 614362"/>
              <a:gd name="connsiteX1" fmla="*/ 2559050 w 2559050"/>
              <a:gd name="connsiteY1" fmla="*/ 0 h 614362"/>
              <a:gd name="connsiteX2" fmla="*/ 1906588 w 2559050"/>
              <a:gd name="connsiteY2" fmla="*/ 614362 h 614362"/>
              <a:gd name="connsiteX3" fmla="*/ 0 w 2559050"/>
              <a:gd name="connsiteY3" fmla="*/ 606424 h 614362"/>
              <a:gd name="connsiteX4" fmla="*/ 7940 w 2559050"/>
              <a:gd name="connsiteY4" fmla="*/ 9526 h 614362"/>
              <a:gd name="connsiteX0" fmla="*/ 0 w 2551110"/>
              <a:gd name="connsiteY0" fmla="*/ 9526 h 614362"/>
              <a:gd name="connsiteX1" fmla="*/ 2551110 w 2551110"/>
              <a:gd name="connsiteY1" fmla="*/ 0 h 614362"/>
              <a:gd name="connsiteX2" fmla="*/ 1898648 w 2551110"/>
              <a:gd name="connsiteY2" fmla="*/ 614362 h 614362"/>
              <a:gd name="connsiteX3" fmla="*/ 6348 w 2551110"/>
              <a:gd name="connsiteY3" fmla="*/ 606424 h 614362"/>
              <a:gd name="connsiteX4" fmla="*/ 0 w 2551110"/>
              <a:gd name="connsiteY4" fmla="*/ 9526 h 614362"/>
              <a:gd name="connsiteX0" fmla="*/ 0 w 2551110"/>
              <a:gd name="connsiteY0" fmla="*/ 9526 h 614362"/>
              <a:gd name="connsiteX1" fmla="*/ 2551110 w 2551110"/>
              <a:gd name="connsiteY1" fmla="*/ 0 h 614362"/>
              <a:gd name="connsiteX2" fmla="*/ 2484647 w 2551110"/>
              <a:gd name="connsiteY2" fmla="*/ 70805 h 614362"/>
              <a:gd name="connsiteX3" fmla="*/ 1898648 w 2551110"/>
              <a:gd name="connsiteY3" fmla="*/ 614362 h 614362"/>
              <a:gd name="connsiteX4" fmla="*/ 6348 w 2551110"/>
              <a:gd name="connsiteY4" fmla="*/ 606424 h 614362"/>
              <a:gd name="connsiteX5" fmla="*/ 0 w 2551110"/>
              <a:gd name="connsiteY5" fmla="*/ 9526 h 614362"/>
              <a:gd name="connsiteX0" fmla="*/ 0 w 2551110"/>
              <a:gd name="connsiteY0" fmla="*/ 9526 h 614362"/>
              <a:gd name="connsiteX1" fmla="*/ 2551110 w 2551110"/>
              <a:gd name="connsiteY1" fmla="*/ 0 h 614362"/>
              <a:gd name="connsiteX2" fmla="*/ 1898648 w 2551110"/>
              <a:gd name="connsiteY2" fmla="*/ 614362 h 614362"/>
              <a:gd name="connsiteX3" fmla="*/ 6348 w 2551110"/>
              <a:gd name="connsiteY3" fmla="*/ 606424 h 614362"/>
              <a:gd name="connsiteX4" fmla="*/ 0 w 2551110"/>
              <a:gd name="connsiteY4" fmla="*/ 9526 h 614362"/>
              <a:gd name="connsiteX0" fmla="*/ 0 w 2551110"/>
              <a:gd name="connsiteY0" fmla="*/ 9526 h 614362"/>
              <a:gd name="connsiteX1" fmla="*/ 2551110 w 2551110"/>
              <a:gd name="connsiteY1" fmla="*/ 0 h 614362"/>
              <a:gd name="connsiteX2" fmla="*/ 2494172 w 2551110"/>
              <a:gd name="connsiteY2" fmla="*/ 46993 h 614362"/>
              <a:gd name="connsiteX3" fmla="*/ 1898648 w 2551110"/>
              <a:gd name="connsiteY3" fmla="*/ 614362 h 614362"/>
              <a:gd name="connsiteX4" fmla="*/ 6348 w 2551110"/>
              <a:gd name="connsiteY4" fmla="*/ 606424 h 614362"/>
              <a:gd name="connsiteX5" fmla="*/ 0 w 2551110"/>
              <a:gd name="connsiteY5" fmla="*/ 9526 h 614362"/>
              <a:gd name="connsiteX0" fmla="*/ 0 w 2551110"/>
              <a:gd name="connsiteY0" fmla="*/ 9526 h 614362"/>
              <a:gd name="connsiteX1" fmla="*/ 2551110 w 2551110"/>
              <a:gd name="connsiteY1" fmla="*/ 0 h 614362"/>
              <a:gd name="connsiteX2" fmla="*/ 2494172 w 2551110"/>
              <a:gd name="connsiteY2" fmla="*/ 46993 h 614362"/>
              <a:gd name="connsiteX3" fmla="*/ 2456072 w 2551110"/>
              <a:gd name="connsiteY3" fmla="*/ 80330 h 614362"/>
              <a:gd name="connsiteX4" fmla="*/ 1898648 w 2551110"/>
              <a:gd name="connsiteY4" fmla="*/ 614362 h 614362"/>
              <a:gd name="connsiteX5" fmla="*/ 6348 w 2551110"/>
              <a:gd name="connsiteY5" fmla="*/ 606424 h 614362"/>
              <a:gd name="connsiteX6" fmla="*/ 0 w 2551110"/>
              <a:gd name="connsiteY6" fmla="*/ 9526 h 614362"/>
              <a:gd name="connsiteX0" fmla="*/ 0 w 2622759"/>
              <a:gd name="connsiteY0" fmla="*/ 9526 h 614362"/>
              <a:gd name="connsiteX1" fmla="*/ 2551110 w 2622759"/>
              <a:gd name="connsiteY1" fmla="*/ 0 h 614362"/>
              <a:gd name="connsiteX2" fmla="*/ 2622759 w 2622759"/>
              <a:gd name="connsiteY2" fmla="*/ 89856 h 614362"/>
              <a:gd name="connsiteX3" fmla="*/ 2456072 w 2622759"/>
              <a:gd name="connsiteY3" fmla="*/ 80330 h 614362"/>
              <a:gd name="connsiteX4" fmla="*/ 1898648 w 2622759"/>
              <a:gd name="connsiteY4" fmla="*/ 614362 h 614362"/>
              <a:gd name="connsiteX5" fmla="*/ 6348 w 2622759"/>
              <a:gd name="connsiteY5" fmla="*/ 606424 h 614362"/>
              <a:gd name="connsiteX6" fmla="*/ 0 w 2622759"/>
              <a:gd name="connsiteY6" fmla="*/ 9526 h 614362"/>
              <a:gd name="connsiteX0" fmla="*/ 0 w 2622759"/>
              <a:gd name="connsiteY0" fmla="*/ 4764 h 609600"/>
              <a:gd name="connsiteX1" fmla="*/ 2465385 w 2622759"/>
              <a:gd name="connsiteY1" fmla="*/ 0 h 609600"/>
              <a:gd name="connsiteX2" fmla="*/ 2622759 w 2622759"/>
              <a:gd name="connsiteY2" fmla="*/ 85094 h 609600"/>
              <a:gd name="connsiteX3" fmla="*/ 2456072 w 2622759"/>
              <a:gd name="connsiteY3" fmla="*/ 75568 h 609600"/>
              <a:gd name="connsiteX4" fmla="*/ 1898648 w 2622759"/>
              <a:gd name="connsiteY4" fmla="*/ 609600 h 609600"/>
              <a:gd name="connsiteX5" fmla="*/ 6348 w 2622759"/>
              <a:gd name="connsiteY5" fmla="*/ 601662 h 609600"/>
              <a:gd name="connsiteX6" fmla="*/ 0 w 2622759"/>
              <a:gd name="connsiteY6" fmla="*/ 4764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2759" h="609600">
                <a:moveTo>
                  <a:pt x="0" y="4764"/>
                </a:moveTo>
                <a:lnTo>
                  <a:pt x="2465385" y="0"/>
                </a:lnTo>
                <a:lnTo>
                  <a:pt x="2622759" y="85094"/>
                </a:lnTo>
                <a:lnTo>
                  <a:pt x="2456072" y="75568"/>
                </a:lnTo>
                <a:lnTo>
                  <a:pt x="1898648" y="609600"/>
                </a:lnTo>
                <a:lnTo>
                  <a:pt x="6348" y="601662"/>
                </a:lnTo>
                <a:lnTo>
                  <a:pt x="0" y="4764"/>
                </a:lnTo>
                <a:close/>
              </a:path>
            </a:pathLst>
          </a:custGeom>
          <a:gradFill flip="none" rotWithShape="1">
            <a:gsLst>
              <a:gs pos="0">
                <a:srgbClr val="000082"/>
              </a:gs>
              <a:gs pos="2000">
                <a:srgbClr val="66008F"/>
              </a:gs>
              <a:gs pos="2000">
                <a:srgbClr val="BA0066"/>
              </a:gs>
              <a:gs pos="29000">
                <a:srgbClr val="FF0000"/>
              </a:gs>
              <a:gs pos="100000">
                <a:srgbClr val="FF8200"/>
              </a:gs>
            </a:gsLst>
            <a:path path="circle">
              <a:fillToRect l="100000" t="100000"/>
            </a:path>
            <a:tileRect r="-100000" b="-100000"/>
          </a:gra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pic>
        <p:nvPicPr>
          <p:cNvPr id="31" name="Picture 4"/>
          <p:cNvPicPr>
            <a:picLocks noChangeAspect="1" noChangeArrowheads="1"/>
          </p:cNvPicPr>
          <p:nvPr/>
        </p:nvPicPr>
        <p:blipFill>
          <a:blip r:embed="rId22">
            <a:extLst>
              <a:ext uri="{BEBA8EAE-BF5A-486C-A8C5-ECC9F3942E4B}">
                <a14:imgProps xmlns:a14="http://schemas.microsoft.com/office/drawing/2010/main">
                  <a14:imgLayer r:embed="rId23">
                    <a14:imgEffect>
                      <a14:colorTemperature colorTemp="5300"/>
                    </a14:imgEffect>
                  </a14:imgLayer>
                </a14:imgProps>
              </a:ext>
              <a:ext uri="{28A0092B-C50C-407E-A947-70E740481C1C}">
                <a14:useLocalDpi xmlns:a14="http://schemas.microsoft.com/office/drawing/2010/main" val="0"/>
              </a:ext>
            </a:extLst>
          </a:blip>
          <a:srcRect/>
          <a:stretch>
            <a:fillRect/>
          </a:stretch>
        </p:blipFill>
        <p:spPr bwMode="auto">
          <a:xfrm>
            <a:off x="4661596" y="1398581"/>
            <a:ext cx="4614453" cy="2255764"/>
          </a:xfrm>
          <a:prstGeom prst="rect">
            <a:avLst/>
          </a:prstGeom>
          <a:ln>
            <a:noFill/>
          </a:ln>
          <a:effectLst>
            <a:softEdge rad="112500"/>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flat" cmpd="sng">
                <a:solidFill>
                  <a:schemeClr val="tx1"/>
                </a:solidFill>
                <a:prstDash val="solid"/>
                <a:miter lim="800000"/>
                <a:headEnd type="none" w="sm" len="sm"/>
                <a:tailEnd type="none" w="sm" len="sm"/>
              </a14:hiddenLine>
            </a:ext>
          </a:extLst>
        </p:spPr>
      </p:pic>
      <p:sp>
        <p:nvSpPr>
          <p:cNvPr id="32" name="Freeform 31"/>
          <p:cNvSpPr/>
          <p:nvPr/>
        </p:nvSpPr>
        <p:spPr bwMode="auto">
          <a:xfrm>
            <a:off x="8661483" y="4782429"/>
            <a:ext cx="1224136" cy="428625"/>
          </a:xfrm>
          <a:custGeom>
            <a:avLst/>
            <a:gdLst>
              <a:gd name="connsiteX0" fmla="*/ 0 w 1485900"/>
              <a:gd name="connsiteY0" fmla="*/ 428625 h 428625"/>
              <a:gd name="connsiteX1" fmla="*/ 0 w 1485900"/>
              <a:gd name="connsiteY1" fmla="*/ 0 h 428625"/>
              <a:gd name="connsiteX2" fmla="*/ 1485900 w 1485900"/>
              <a:gd name="connsiteY2" fmla="*/ 0 h 428625"/>
              <a:gd name="connsiteX3" fmla="*/ 1485900 w 1485900"/>
              <a:gd name="connsiteY3" fmla="*/ 419100 h 428625"/>
              <a:gd name="connsiteX4" fmla="*/ 1414463 w 1485900"/>
              <a:gd name="connsiteY4" fmla="*/ 423863 h 428625"/>
              <a:gd name="connsiteX5" fmla="*/ 1366838 w 1485900"/>
              <a:gd name="connsiteY5" fmla="*/ 95250 h 428625"/>
              <a:gd name="connsiteX6" fmla="*/ 128588 w 1485900"/>
              <a:gd name="connsiteY6" fmla="*/ 90488 h 428625"/>
              <a:gd name="connsiteX7" fmla="*/ 61913 w 1485900"/>
              <a:gd name="connsiteY7" fmla="*/ 428625 h 428625"/>
              <a:gd name="connsiteX8" fmla="*/ 0 w 1485900"/>
              <a:gd name="connsiteY8" fmla="*/ 428625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5900" h="428625">
                <a:moveTo>
                  <a:pt x="0" y="428625"/>
                </a:moveTo>
                <a:lnTo>
                  <a:pt x="0" y="0"/>
                </a:lnTo>
                <a:lnTo>
                  <a:pt x="1485900" y="0"/>
                </a:lnTo>
                <a:lnTo>
                  <a:pt x="1485900" y="419100"/>
                </a:lnTo>
                <a:lnTo>
                  <a:pt x="1414463" y="423863"/>
                </a:lnTo>
                <a:lnTo>
                  <a:pt x="1366838" y="95250"/>
                </a:lnTo>
                <a:lnTo>
                  <a:pt x="128588" y="90488"/>
                </a:lnTo>
                <a:lnTo>
                  <a:pt x="61913" y="428625"/>
                </a:lnTo>
                <a:lnTo>
                  <a:pt x="0" y="428625"/>
                </a:lnTo>
                <a:close/>
              </a:path>
            </a:pathLst>
          </a:custGeom>
          <a:pattFill prst="pct60">
            <a:fgClr>
              <a:srgbClr val="92D050"/>
            </a:fgClr>
            <a:bgClr>
              <a:schemeClr val="bg1"/>
            </a:bgClr>
          </a:patt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33" name="Freeform 32"/>
          <p:cNvSpPr/>
          <p:nvPr/>
        </p:nvSpPr>
        <p:spPr bwMode="auto">
          <a:xfrm flipV="1">
            <a:off x="8663157" y="5352850"/>
            <a:ext cx="1224136" cy="427000"/>
          </a:xfrm>
          <a:custGeom>
            <a:avLst/>
            <a:gdLst>
              <a:gd name="connsiteX0" fmla="*/ 0 w 1485900"/>
              <a:gd name="connsiteY0" fmla="*/ 428625 h 428625"/>
              <a:gd name="connsiteX1" fmla="*/ 0 w 1485900"/>
              <a:gd name="connsiteY1" fmla="*/ 0 h 428625"/>
              <a:gd name="connsiteX2" fmla="*/ 1485900 w 1485900"/>
              <a:gd name="connsiteY2" fmla="*/ 0 h 428625"/>
              <a:gd name="connsiteX3" fmla="*/ 1485900 w 1485900"/>
              <a:gd name="connsiteY3" fmla="*/ 419100 h 428625"/>
              <a:gd name="connsiteX4" fmla="*/ 1414463 w 1485900"/>
              <a:gd name="connsiteY4" fmla="*/ 423863 h 428625"/>
              <a:gd name="connsiteX5" fmla="*/ 1366838 w 1485900"/>
              <a:gd name="connsiteY5" fmla="*/ 95250 h 428625"/>
              <a:gd name="connsiteX6" fmla="*/ 128588 w 1485900"/>
              <a:gd name="connsiteY6" fmla="*/ 90488 h 428625"/>
              <a:gd name="connsiteX7" fmla="*/ 61913 w 1485900"/>
              <a:gd name="connsiteY7" fmla="*/ 428625 h 428625"/>
              <a:gd name="connsiteX8" fmla="*/ 0 w 1485900"/>
              <a:gd name="connsiteY8" fmla="*/ 428625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5900" h="428625">
                <a:moveTo>
                  <a:pt x="0" y="428625"/>
                </a:moveTo>
                <a:lnTo>
                  <a:pt x="0" y="0"/>
                </a:lnTo>
                <a:lnTo>
                  <a:pt x="1485900" y="0"/>
                </a:lnTo>
                <a:lnTo>
                  <a:pt x="1485900" y="419100"/>
                </a:lnTo>
                <a:lnTo>
                  <a:pt x="1414463" y="423863"/>
                </a:lnTo>
                <a:lnTo>
                  <a:pt x="1366838" y="95250"/>
                </a:lnTo>
                <a:lnTo>
                  <a:pt x="128588" y="90488"/>
                </a:lnTo>
                <a:lnTo>
                  <a:pt x="61913" y="428625"/>
                </a:lnTo>
                <a:lnTo>
                  <a:pt x="0" y="428625"/>
                </a:lnTo>
                <a:close/>
              </a:path>
            </a:pathLst>
          </a:custGeom>
          <a:pattFill prst="pct60">
            <a:fgClr>
              <a:srgbClr val="92D050"/>
            </a:fgClr>
            <a:bgClr>
              <a:schemeClr val="bg1"/>
            </a:bgClr>
          </a:patt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grpSp>
        <p:nvGrpSpPr>
          <p:cNvPr id="34" name="Group 33"/>
          <p:cNvGrpSpPr/>
          <p:nvPr/>
        </p:nvGrpSpPr>
        <p:grpSpPr>
          <a:xfrm>
            <a:off x="8806962" y="5351138"/>
            <a:ext cx="252028" cy="247649"/>
            <a:chOff x="6624228" y="4945547"/>
            <a:chExt cx="252028" cy="247649"/>
          </a:xfrm>
        </p:grpSpPr>
        <p:sp>
          <p:nvSpPr>
            <p:cNvPr id="35" name="Oval 34"/>
            <p:cNvSpPr/>
            <p:nvPr/>
          </p:nvSpPr>
          <p:spPr bwMode="auto">
            <a:xfrm>
              <a:off x="6624228" y="4945547"/>
              <a:ext cx="252028" cy="24764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36" name="Oval 35"/>
            <p:cNvSpPr/>
            <p:nvPr/>
          </p:nvSpPr>
          <p:spPr bwMode="auto">
            <a:xfrm>
              <a:off x="6732240" y="5039465"/>
              <a:ext cx="45719" cy="4571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37" name="Arc 36"/>
            <p:cNvSpPr/>
            <p:nvPr/>
          </p:nvSpPr>
          <p:spPr bwMode="auto">
            <a:xfrm>
              <a:off x="6624228" y="4977172"/>
              <a:ext cx="216024" cy="188879"/>
            </a:xfrm>
            <a:prstGeom prst="arc">
              <a:avLst/>
            </a:prstGeom>
            <a:noFill/>
            <a:ln w="12700" cap="flat" cmpd="sng" algn="ctr">
              <a:solidFill>
                <a:schemeClr val="tx2">
                  <a:lumMod val="60000"/>
                  <a:lumOff val="40000"/>
                </a:schemeClr>
              </a:solidFill>
              <a:prstDash val="solid"/>
              <a:round/>
              <a:headEnd type="none" w="med" len="med"/>
              <a:tailEnd type="stealth"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grpSp>
      <p:grpSp>
        <p:nvGrpSpPr>
          <p:cNvPr id="38" name="Group 37"/>
          <p:cNvGrpSpPr/>
          <p:nvPr/>
        </p:nvGrpSpPr>
        <p:grpSpPr>
          <a:xfrm>
            <a:off x="9165539" y="5345296"/>
            <a:ext cx="252028" cy="247649"/>
            <a:chOff x="6624228" y="4945547"/>
            <a:chExt cx="252028" cy="247649"/>
          </a:xfrm>
        </p:grpSpPr>
        <p:sp>
          <p:nvSpPr>
            <p:cNvPr id="39" name="Oval 38"/>
            <p:cNvSpPr/>
            <p:nvPr/>
          </p:nvSpPr>
          <p:spPr bwMode="auto">
            <a:xfrm>
              <a:off x="6624228" y="4945547"/>
              <a:ext cx="252028" cy="24764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40" name="Oval 39"/>
            <p:cNvSpPr/>
            <p:nvPr/>
          </p:nvSpPr>
          <p:spPr bwMode="auto">
            <a:xfrm>
              <a:off x="6732240" y="5039465"/>
              <a:ext cx="45719" cy="4571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41" name="Arc 40"/>
            <p:cNvSpPr/>
            <p:nvPr/>
          </p:nvSpPr>
          <p:spPr bwMode="auto">
            <a:xfrm>
              <a:off x="6624228" y="4977172"/>
              <a:ext cx="216024" cy="188879"/>
            </a:xfrm>
            <a:prstGeom prst="arc">
              <a:avLst/>
            </a:prstGeom>
            <a:noFill/>
            <a:ln w="12700" cap="flat" cmpd="sng" algn="ctr">
              <a:solidFill>
                <a:schemeClr val="tx2">
                  <a:lumMod val="60000"/>
                  <a:lumOff val="40000"/>
                </a:schemeClr>
              </a:solidFill>
              <a:prstDash val="solid"/>
              <a:round/>
              <a:headEnd type="none" w="med" len="med"/>
              <a:tailEnd type="stealth"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grpSp>
      <p:grpSp>
        <p:nvGrpSpPr>
          <p:cNvPr id="42" name="Group 41"/>
          <p:cNvGrpSpPr/>
          <p:nvPr/>
        </p:nvGrpSpPr>
        <p:grpSpPr>
          <a:xfrm>
            <a:off x="9489575" y="5345296"/>
            <a:ext cx="252028" cy="247649"/>
            <a:chOff x="6624228" y="4945547"/>
            <a:chExt cx="252028" cy="247649"/>
          </a:xfrm>
        </p:grpSpPr>
        <p:sp>
          <p:nvSpPr>
            <p:cNvPr id="43" name="Oval 42"/>
            <p:cNvSpPr/>
            <p:nvPr/>
          </p:nvSpPr>
          <p:spPr bwMode="auto">
            <a:xfrm>
              <a:off x="6624228" y="4945547"/>
              <a:ext cx="252028" cy="24764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44" name="Oval 43"/>
            <p:cNvSpPr/>
            <p:nvPr/>
          </p:nvSpPr>
          <p:spPr bwMode="auto">
            <a:xfrm>
              <a:off x="6732240" y="5039465"/>
              <a:ext cx="45719" cy="45719"/>
            </a:xfrm>
            <a:prstGeom prst="ellipse">
              <a:avLst/>
            </a:prstGeom>
            <a:solidFill>
              <a:schemeClr val="bg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45" name="Arc 44"/>
            <p:cNvSpPr/>
            <p:nvPr/>
          </p:nvSpPr>
          <p:spPr bwMode="auto">
            <a:xfrm>
              <a:off x="6624228" y="4977172"/>
              <a:ext cx="216024" cy="188879"/>
            </a:xfrm>
            <a:prstGeom prst="arc">
              <a:avLst/>
            </a:prstGeom>
            <a:noFill/>
            <a:ln w="12700" cap="flat" cmpd="sng" algn="ctr">
              <a:solidFill>
                <a:schemeClr val="tx2">
                  <a:lumMod val="60000"/>
                  <a:lumOff val="40000"/>
                </a:schemeClr>
              </a:solidFill>
              <a:prstDash val="solid"/>
              <a:round/>
              <a:headEnd type="none" w="med" len="med"/>
              <a:tailEnd type="stealth"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grpSp>
      <p:sp>
        <p:nvSpPr>
          <p:cNvPr id="46" name="Rectangle 45"/>
          <p:cNvSpPr/>
          <p:nvPr/>
        </p:nvSpPr>
        <p:spPr bwMode="auto">
          <a:xfrm>
            <a:off x="5536268" y="6113123"/>
            <a:ext cx="1845266" cy="312789"/>
          </a:xfrm>
          <a:prstGeom prst="rect">
            <a:avLst/>
          </a:prstGeom>
          <a:noFill/>
          <a:ln w="12700" cap="flat" cmpd="sng" algn="ctr">
            <a:no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r>
              <a:rPr lang="en-US" sz="1400" b="1" dirty="0">
                <a:latin typeface="CorpoS" pitchFamily="2" charset="0"/>
              </a:rPr>
              <a:t>Floating Zone</a:t>
            </a:r>
          </a:p>
        </p:txBody>
      </p:sp>
      <p:sp>
        <p:nvSpPr>
          <p:cNvPr id="47" name="Rectangle 46"/>
          <p:cNvSpPr/>
          <p:nvPr>
            <p:custDataLst>
              <p:tags r:id="rId19"/>
            </p:custDataLst>
          </p:nvPr>
        </p:nvSpPr>
        <p:spPr bwMode="auto">
          <a:xfrm>
            <a:off x="8591733" y="6103886"/>
            <a:ext cx="1425472" cy="288032"/>
          </a:xfrm>
          <a:prstGeom prst="rect">
            <a:avLst/>
          </a:prstGeom>
          <a:noFill/>
          <a:ln w="12700" cap="flat" cmpd="sng" algn="ctr">
            <a:no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r>
              <a:rPr lang="en-US" sz="1400" b="1" dirty="0">
                <a:latin typeface="CorpoS" pitchFamily="2" charset="0"/>
              </a:rPr>
              <a:t>Cooling Zone</a:t>
            </a:r>
          </a:p>
        </p:txBody>
      </p:sp>
      <p:sp>
        <p:nvSpPr>
          <p:cNvPr id="48" name="Rectangle 47"/>
          <p:cNvSpPr/>
          <p:nvPr/>
        </p:nvSpPr>
        <p:spPr bwMode="auto">
          <a:xfrm>
            <a:off x="3840158" y="4915754"/>
            <a:ext cx="827379" cy="288032"/>
          </a:xfrm>
          <a:prstGeom prst="rect">
            <a:avLst/>
          </a:prstGeom>
          <a:no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sz="1200" dirty="0" smtClean="0"/>
              <a:t>1500</a:t>
            </a:r>
            <a:r>
              <a:rPr kumimoji="0" lang="en-US" sz="1200" b="1" i="0" u="none" strike="noStrike" cap="none" normalizeH="0" baseline="0" dirty="0" smtClean="0">
                <a:ln>
                  <a:noFill/>
                </a:ln>
                <a:solidFill>
                  <a:schemeClr val="tx1"/>
                </a:solidFill>
                <a:effectLst/>
              </a:rPr>
              <a:t>∘C</a:t>
            </a:r>
          </a:p>
        </p:txBody>
      </p:sp>
      <p:sp>
        <p:nvSpPr>
          <p:cNvPr id="49" name="Rectangle 48"/>
          <p:cNvSpPr/>
          <p:nvPr/>
        </p:nvSpPr>
        <p:spPr bwMode="auto">
          <a:xfrm>
            <a:off x="7906112" y="4996740"/>
            <a:ext cx="623327" cy="264331"/>
          </a:xfrm>
          <a:prstGeom prst="rect">
            <a:avLst/>
          </a:prstGeom>
          <a:no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sz="1200" dirty="0"/>
              <a:t>6</a:t>
            </a:r>
            <a:r>
              <a:rPr lang="en-US" sz="1200" dirty="0" smtClean="0"/>
              <a:t>00</a:t>
            </a:r>
            <a:r>
              <a:rPr kumimoji="0" lang="en-US" sz="1200" b="1" i="0" u="none" strike="noStrike" cap="none" normalizeH="0" baseline="0" dirty="0" smtClean="0">
                <a:ln>
                  <a:noFill/>
                </a:ln>
                <a:solidFill>
                  <a:schemeClr val="tx1"/>
                </a:solidFill>
                <a:effectLst/>
              </a:rPr>
              <a:t>∘C</a:t>
            </a:r>
          </a:p>
        </p:txBody>
      </p:sp>
      <p:sp>
        <p:nvSpPr>
          <p:cNvPr id="50" name="Rectangle 49"/>
          <p:cNvSpPr/>
          <p:nvPr/>
        </p:nvSpPr>
        <p:spPr bwMode="auto">
          <a:xfrm>
            <a:off x="9838356" y="4987762"/>
            <a:ext cx="623327" cy="264331"/>
          </a:xfrm>
          <a:prstGeom prst="rect">
            <a:avLst/>
          </a:prstGeom>
          <a:no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sz="1200" dirty="0" smtClean="0"/>
              <a:t>200</a:t>
            </a:r>
            <a:r>
              <a:rPr kumimoji="0" lang="en-US" sz="1200" b="1" i="0" u="none" strike="noStrike" cap="none" normalizeH="0" baseline="0" dirty="0" smtClean="0">
                <a:ln>
                  <a:noFill/>
                </a:ln>
                <a:solidFill>
                  <a:schemeClr val="tx1"/>
                </a:solidFill>
                <a:effectLst/>
              </a:rPr>
              <a:t>∘C</a:t>
            </a:r>
          </a:p>
        </p:txBody>
      </p:sp>
      <p:sp>
        <p:nvSpPr>
          <p:cNvPr id="51" name="Oval Callout 50"/>
          <p:cNvSpPr/>
          <p:nvPr/>
        </p:nvSpPr>
        <p:spPr bwMode="auto">
          <a:xfrm>
            <a:off x="4728048" y="1920091"/>
            <a:ext cx="2533513" cy="1734253"/>
          </a:xfrm>
          <a:prstGeom prst="wedgeEllipseCallout">
            <a:avLst>
              <a:gd name="adj1" fmla="val -52858"/>
              <a:gd name="adj2" fmla="val 92947"/>
            </a:avLst>
          </a:prstGeom>
          <a:noFill/>
          <a:ln w="12700" cap="flat" cmpd="sng" algn="ctr">
            <a:solidFill>
              <a:schemeClr val="tx2">
                <a:lumMod val="75000"/>
              </a:schemeClr>
            </a:solid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
        <p:nvSpPr>
          <p:cNvPr id="54" name="Rectangle 53"/>
          <p:cNvSpPr/>
          <p:nvPr>
            <p:custDataLst>
              <p:tags r:id="rId20"/>
            </p:custDataLst>
          </p:nvPr>
        </p:nvSpPr>
        <p:spPr bwMode="auto">
          <a:xfrm>
            <a:off x="8794333" y="4902867"/>
            <a:ext cx="947270" cy="327886"/>
          </a:xfrm>
          <a:prstGeom prst="rect">
            <a:avLst/>
          </a:prstGeom>
          <a:pattFill prst="dkVert">
            <a:fgClr>
              <a:schemeClr val="accent6">
                <a:lumMod val="60000"/>
                <a:lumOff val="40000"/>
              </a:schemeClr>
            </a:fgClr>
            <a:bgClr>
              <a:schemeClr val="bg1">
                <a:lumMod val="95000"/>
              </a:schemeClr>
            </a:bgClr>
          </a:pattFill>
          <a:ln w="12700" cap="flat" cmpd="sng" algn="ctr">
            <a:noFill/>
            <a:prstDash val="solid"/>
            <a:round/>
            <a:headEnd type="none" w="sm" len="sm"/>
            <a:tailEnd type="none"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CorpoS" pitchFamily="2" charset="0"/>
            </a:endParaRPr>
          </a:p>
        </p:txBody>
      </p:sp>
    </p:spTree>
    <p:extLst>
      <p:ext uri="{BB962C8B-B14F-4D97-AF65-F5344CB8AC3E}">
        <p14:creationId xmlns:p14="http://schemas.microsoft.com/office/powerpoint/2010/main" val="2489146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42" presetClass="exit" presetSubtype="0" fill="hold" grpId="1" nodeType="clickEffect">
                                  <p:stCondLst>
                                    <p:cond delay="0"/>
                                  </p:stCondLst>
                                  <p:childTnLst>
                                    <p:animEffect transition="out" filter="fade">
                                      <p:cBhvr>
                                        <p:cTn id="30" dur="2000"/>
                                        <p:tgtEl>
                                          <p:spTgt spid="21"/>
                                        </p:tgtEl>
                                      </p:cBhvr>
                                    </p:animEffect>
                                    <p:anim calcmode="lin" valueType="num">
                                      <p:cBhvr>
                                        <p:cTn id="31" dur="2000"/>
                                        <p:tgtEl>
                                          <p:spTgt spid="21"/>
                                        </p:tgtEl>
                                        <p:attrNameLst>
                                          <p:attrName>ppt_x</p:attrName>
                                        </p:attrNameLst>
                                      </p:cBhvr>
                                      <p:tavLst>
                                        <p:tav tm="0">
                                          <p:val>
                                            <p:strVal val="ppt_x"/>
                                          </p:val>
                                        </p:tav>
                                        <p:tav tm="100000">
                                          <p:val>
                                            <p:strVal val="ppt_x"/>
                                          </p:val>
                                        </p:tav>
                                      </p:tavLst>
                                    </p:anim>
                                    <p:anim calcmode="lin" valueType="num">
                                      <p:cBhvr>
                                        <p:cTn id="32" dur="2000"/>
                                        <p:tgtEl>
                                          <p:spTgt spid="21"/>
                                        </p:tgtEl>
                                        <p:attrNameLst>
                                          <p:attrName>ppt_y</p:attrName>
                                        </p:attrNameLst>
                                      </p:cBhvr>
                                      <p:tavLst>
                                        <p:tav tm="0">
                                          <p:val>
                                            <p:strVal val="ppt_y"/>
                                          </p:val>
                                        </p:tav>
                                        <p:tav tm="100000">
                                          <p:val>
                                            <p:strVal val="ppt_y+.1"/>
                                          </p:val>
                                        </p:tav>
                                      </p:tavLst>
                                    </p:anim>
                                    <p:set>
                                      <p:cBhvr>
                                        <p:cTn id="33" dur="1" fill="hold">
                                          <p:stCondLst>
                                            <p:cond delay="1999"/>
                                          </p:stCondLst>
                                        </p:cTn>
                                        <p:tgtEl>
                                          <p:spTgt spid="21"/>
                                        </p:tgtEl>
                                        <p:attrNameLst>
                                          <p:attrName>style.visibility</p:attrName>
                                        </p:attrNameLst>
                                      </p:cBhvr>
                                      <p:to>
                                        <p:strVal val="hidden"/>
                                      </p:to>
                                    </p:set>
                                  </p:childTnLst>
                                </p:cTn>
                              </p:par>
                              <p:par>
                                <p:cTn id="34" presetID="42" presetClass="exit" presetSubtype="0" fill="hold" grpId="1" nodeType="withEffect">
                                  <p:stCondLst>
                                    <p:cond delay="0"/>
                                  </p:stCondLst>
                                  <p:childTnLst>
                                    <p:animEffect transition="out" filter="fade">
                                      <p:cBhvr>
                                        <p:cTn id="35" dur="2000"/>
                                        <p:tgtEl>
                                          <p:spTgt spid="20"/>
                                        </p:tgtEl>
                                      </p:cBhvr>
                                    </p:animEffect>
                                    <p:anim calcmode="lin" valueType="num">
                                      <p:cBhvr>
                                        <p:cTn id="36" dur="2000"/>
                                        <p:tgtEl>
                                          <p:spTgt spid="20"/>
                                        </p:tgtEl>
                                        <p:attrNameLst>
                                          <p:attrName>ppt_x</p:attrName>
                                        </p:attrNameLst>
                                      </p:cBhvr>
                                      <p:tavLst>
                                        <p:tav tm="0">
                                          <p:val>
                                            <p:strVal val="ppt_x"/>
                                          </p:val>
                                        </p:tav>
                                        <p:tav tm="100000">
                                          <p:val>
                                            <p:strVal val="ppt_x"/>
                                          </p:val>
                                        </p:tav>
                                      </p:tavLst>
                                    </p:anim>
                                    <p:anim calcmode="lin" valueType="num">
                                      <p:cBhvr>
                                        <p:cTn id="37" dur="2000"/>
                                        <p:tgtEl>
                                          <p:spTgt spid="20"/>
                                        </p:tgtEl>
                                        <p:attrNameLst>
                                          <p:attrName>ppt_y</p:attrName>
                                        </p:attrNameLst>
                                      </p:cBhvr>
                                      <p:tavLst>
                                        <p:tav tm="0">
                                          <p:val>
                                            <p:strVal val="ppt_y"/>
                                          </p:val>
                                        </p:tav>
                                        <p:tav tm="100000">
                                          <p:val>
                                            <p:strVal val="ppt_y+.1"/>
                                          </p:val>
                                        </p:tav>
                                      </p:tavLst>
                                    </p:anim>
                                    <p:set>
                                      <p:cBhvr>
                                        <p:cTn id="38" dur="1" fill="hold">
                                          <p:stCondLst>
                                            <p:cond delay="1999"/>
                                          </p:stCondLst>
                                        </p:cTn>
                                        <p:tgtEl>
                                          <p:spTgt spid="20"/>
                                        </p:tgtEl>
                                        <p:attrNameLst>
                                          <p:attrName>style.visibility</p:attrName>
                                        </p:attrNameLst>
                                      </p:cBhvr>
                                      <p:to>
                                        <p:strVal val="hidden"/>
                                      </p:to>
                                    </p:set>
                                  </p:childTnLst>
                                </p:cTn>
                              </p:par>
                              <p:par>
                                <p:cTn id="39" presetID="42" presetClass="exit" presetSubtype="0" fill="hold" grpId="1" nodeType="withEffect">
                                  <p:stCondLst>
                                    <p:cond delay="0"/>
                                  </p:stCondLst>
                                  <p:childTnLst>
                                    <p:animEffect transition="out" filter="fade">
                                      <p:cBhvr>
                                        <p:cTn id="40" dur="2000"/>
                                        <p:tgtEl>
                                          <p:spTgt spid="22"/>
                                        </p:tgtEl>
                                      </p:cBhvr>
                                    </p:animEffect>
                                    <p:anim calcmode="lin" valueType="num">
                                      <p:cBhvr>
                                        <p:cTn id="41" dur="2000"/>
                                        <p:tgtEl>
                                          <p:spTgt spid="22"/>
                                        </p:tgtEl>
                                        <p:attrNameLst>
                                          <p:attrName>ppt_x</p:attrName>
                                        </p:attrNameLst>
                                      </p:cBhvr>
                                      <p:tavLst>
                                        <p:tav tm="0">
                                          <p:val>
                                            <p:strVal val="ppt_x"/>
                                          </p:val>
                                        </p:tav>
                                        <p:tav tm="100000">
                                          <p:val>
                                            <p:strVal val="ppt_x"/>
                                          </p:val>
                                        </p:tav>
                                      </p:tavLst>
                                    </p:anim>
                                    <p:anim calcmode="lin" valueType="num">
                                      <p:cBhvr>
                                        <p:cTn id="42" dur="2000"/>
                                        <p:tgtEl>
                                          <p:spTgt spid="22"/>
                                        </p:tgtEl>
                                        <p:attrNameLst>
                                          <p:attrName>ppt_y</p:attrName>
                                        </p:attrNameLst>
                                      </p:cBhvr>
                                      <p:tavLst>
                                        <p:tav tm="0">
                                          <p:val>
                                            <p:strVal val="ppt_y"/>
                                          </p:val>
                                        </p:tav>
                                        <p:tav tm="100000">
                                          <p:val>
                                            <p:strVal val="ppt_y+.1"/>
                                          </p:val>
                                        </p:tav>
                                      </p:tavLst>
                                    </p:anim>
                                    <p:set>
                                      <p:cBhvr>
                                        <p:cTn id="43" dur="1" fill="hold">
                                          <p:stCondLst>
                                            <p:cond delay="1999"/>
                                          </p:stCondLst>
                                        </p:cTn>
                                        <p:tgtEl>
                                          <p:spTgt spid="22"/>
                                        </p:tgtEl>
                                        <p:attrNameLst>
                                          <p:attrName>style.visibility</p:attrName>
                                        </p:attrNameLst>
                                      </p:cBhvr>
                                      <p:to>
                                        <p:strVal val="hidden"/>
                                      </p:to>
                                    </p:set>
                                  </p:childTnLst>
                                </p:cTn>
                              </p:par>
                              <p:par>
                                <p:cTn id="44" presetID="42" presetClass="exit" presetSubtype="0" fill="hold" grpId="1" nodeType="withEffect">
                                  <p:stCondLst>
                                    <p:cond delay="0"/>
                                  </p:stCondLst>
                                  <p:childTnLst>
                                    <p:animEffect transition="out" filter="fade">
                                      <p:cBhvr>
                                        <p:cTn id="45" dur="2000"/>
                                        <p:tgtEl>
                                          <p:spTgt spid="23"/>
                                        </p:tgtEl>
                                      </p:cBhvr>
                                    </p:animEffect>
                                    <p:anim calcmode="lin" valueType="num">
                                      <p:cBhvr>
                                        <p:cTn id="46" dur="2000"/>
                                        <p:tgtEl>
                                          <p:spTgt spid="23"/>
                                        </p:tgtEl>
                                        <p:attrNameLst>
                                          <p:attrName>ppt_x</p:attrName>
                                        </p:attrNameLst>
                                      </p:cBhvr>
                                      <p:tavLst>
                                        <p:tav tm="0">
                                          <p:val>
                                            <p:strVal val="ppt_x"/>
                                          </p:val>
                                        </p:tav>
                                        <p:tav tm="100000">
                                          <p:val>
                                            <p:strVal val="ppt_x"/>
                                          </p:val>
                                        </p:tav>
                                      </p:tavLst>
                                    </p:anim>
                                    <p:anim calcmode="lin" valueType="num">
                                      <p:cBhvr>
                                        <p:cTn id="47" dur="2000"/>
                                        <p:tgtEl>
                                          <p:spTgt spid="23"/>
                                        </p:tgtEl>
                                        <p:attrNameLst>
                                          <p:attrName>ppt_y</p:attrName>
                                        </p:attrNameLst>
                                      </p:cBhvr>
                                      <p:tavLst>
                                        <p:tav tm="0">
                                          <p:val>
                                            <p:strVal val="ppt_y"/>
                                          </p:val>
                                        </p:tav>
                                        <p:tav tm="100000">
                                          <p:val>
                                            <p:strVal val="ppt_y+.1"/>
                                          </p:val>
                                        </p:tav>
                                      </p:tavLst>
                                    </p:anim>
                                    <p:set>
                                      <p:cBhvr>
                                        <p:cTn id="48" dur="1" fill="hold">
                                          <p:stCondLst>
                                            <p:cond delay="1999"/>
                                          </p:stCondLst>
                                        </p:cTn>
                                        <p:tgtEl>
                                          <p:spTgt spid="23"/>
                                        </p:tgtEl>
                                        <p:attrNameLst>
                                          <p:attrName>style.visibility</p:attrName>
                                        </p:attrNameLst>
                                      </p:cBhvr>
                                      <p:to>
                                        <p:strVal val="hidden"/>
                                      </p:to>
                                    </p:set>
                                  </p:childTnLst>
                                </p:cTn>
                              </p:par>
                              <p:par>
                                <p:cTn id="49" presetID="42" presetClass="exit" presetSubtype="0" fill="hold" grpId="1" nodeType="withEffect">
                                  <p:stCondLst>
                                    <p:cond delay="0"/>
                                  </p:stCondLst>
                                  <p:childTnLst>
                                    <p:animEffect transition="out" filter="fade">
                                      <p:cBhvr>
                                        <p:cTn id="50" dur="2000"/>
                                        <p:tgtEl>
                                          <p:spTgt spid="24"/>
                                        </p:tgtEl>
                                      </p:cBhvr>
                                    </p:animEffect>
                                    <p:anim calcmode="lin" valueType="num">
                                      <p:cBhvr>
                                        <p:cTn id="51" dur="2000"/>
                                        <p:tgtEl>
                                          <p:spTgt spid="24"/>
                                        </p:tgtEl>
                                        <p:attrNameLst>
                                          <p:attrName>ppt_x</p:attrName>
                                        </p:attrNameLst>
                                      </p:cBhvr>
                                      <p:tavLst>
                                        <p:tav tm="0">
                                          <p:val>
                                            <p:strVal val="ppt_x"/>
                                          </p:val>
                                        </p:tav>
                                        <p:tav tm="100000">
                                          <p:val>
                                            <p:strVal val="ppt_x"/>
                                          </p:val>
                                        </p:tav>
                                      </p:tavLst>
                                    </p:anim>
                                    <p:anim calcmode="lin" valueType="num">
                                      <p:cBhvr>
                                        <p:cTn id="52" dur="2000"/>
                                        <p:tgtEl>
                                          <p:spTgt spid="24"/>
                                        </p:tgtEl>
                                        <p:attrNameLst>
                                          <p:attrName>ppt_y</p:attrName>
                                        </p:attrNameLst>
                                      </p:cBhvr>
                                      <p:tavLst>
                                        <p:tav tm="0">
                                          <p:val>
                                            <p:strVal val="ppt_y"/>
                                          </p:val>
                                        </p:tav>
                                        <p:tav tm="100000">
                                          <p:val>
                                            <p:strVal val="ppt_y+.1"/>
                                          </p:val>
                                        </p:tav>
                                      </p:tavLst>
                                    </p:anim>
                                    <p:set>
                                      <p:cBhvr>
                                        <p:cTn id="53" dur="1" fill="hold">
                                          <p:stCondLst>
                                            <p:cond delay="1999"/>
                                          </p:stCondLst>
                                        </p:cTn>
                                        <p:tgtEl>
                                          <p:spTgt spid="24"/>
                                        </p:tgtEl>
                                        <p:attrNameLst>
                                          <p:attrName>style.visibility</p:attrName>
                                        </p:attrNameLst>
                                      </p:cBhvr>
                                      <p:to>
                                        <p:strVal val="hidden"/>
                                      </p:to>
                                    </p:set>
                                  </p:childTnLst>
                                </p:cTn>
                              </p:par>
                              <p:par>
                                <p:cTn id="54" presetID="42" presetClass="exit" presetSubtype="0" fill="hold" grpId="1" nodeType="withEffect">
                                  <p:stCondLst>
                                    <p:cond delay="0"/>
                                  </p:stCondLst>
                                  <p:childTnLst>
                                    <p:animEffect transition="out" filter="fade">
                                      <p:cBhvr>
                                        <p:cTn id="55" dur="2000"/>
                                        <p:tgtEl>
                                          <p:spTgt spid="25"/>
                                        </p:tgtEl>
                                      </p:cBhvr>
                                    </p:animEffect>
                                    <p:anim calcmode="lin" valueType="num">
                                      <p:cBhvr>
                                        <p:cTn id="56" dur="2000"/>
                                        <p:tgtEl>
                                          <p:spTgt spid="25"/>
                                        </p:tgtEl>
                                        <p:attrNameLst>
                                          <p:attrName>ppt_x</p:attrName>
                                        </p:attrNameLst>
                                      </p:cBhvr>
                                      <p:tavLst>
                                        <p:tav tm="0">
                                          <p:val>
                                            <p:strVal val="ppt_x"/>
                                          </p:val>
                                        </p:tav>
                                        <p:tav tm="100000">
                                          <p:val>
                                            <p:strVal val="ppt_x"/>
                                          </p:val>
                                        </p:tav>
                                      </p:tavLst>
                                    </p:anim>
                                    <p:anim calcmode="lin" valueType="num">
                                      <p:cBhvr>
                                        <p:cTn id="57" dur="2000"/>
                                        <p:tgtEl>
                                          <p:spTgt spid="25"/>
                                        </p:tgtEl>
                                        <p:attrNameLst>
                                          <p:attrName>ppt_y</p:attrName>
                                        </p:attrNameLst>
                                      </p:cBhvr>
                                      <p:tavLst>
                                        <p:tav tm="0">
                                          <p:val>
                                            <p:strVal val="ppt_y"/>
                                          </p:val>
                                        </p:tav>
                                        <p:tav tm="100000">
                                          <p:val>
                                            <p:strVal val="ppt_y+.1"/>
                                          </p:val>
                                        </p:tav>
                                      </p:tavLst>
                                    </p:anim>
                                    <p:set>
                                      <p:cBhvr>
                                        <p:cTn id="58" dur="1" fill="hold">
                                          <p:stCondLst>
                                            <p:cond delay="1999"/>
                                          </p:stCondLst>
                                        </p:cTn>
                                        <p:tgtEl>
                                          <p:spTgt spid="25"/>
                                        </p:tgtEl>
                                        <p:attrNameLst>
                                          <p:attrName>style.visibility</p:attrName>
                                        </p:attrNameLst>
                                      </p:cBhvr>
                                      <p:to>
                                        <p:strVal val="hidden"/>
                                      </p:to>
                                    </p:set>
                                  </p:childTnLst>
                                </p:cTn>
                              </p:par>
                              <p:par>
                                <p:cTn id="59" presetID="22" presetClass="entr" presetSubtype="4" fill="hold" grpId="0" nodeType="withEffect">
                                  <p:stCondLst>
                                    <p:cond delay="0"/>
                                  </p:stCondLst>
                                  <p:childTnLst>
                                    <p:set>
                                      <p:cBhvr>
                                        <p:cTn id="60" dur="1" fill="hold">
                                          <p:stCondLst>
                                            <p:cond delay="0"/>
                                          </p:stCondLst>
                                        </p:cTn>
                                        <p:tgtEl>
                                          <p:spTgt spid="30"/>
                                        </p:tgtEl>
                                        <p:attrNameLst>
                                          <p:attrName>style.visibility</p:attrName>
                                        </p:attrNameLst>
                                      </p:cBhvr>
                                      <p:to>
                                        <p:strVal val="visible"/>
                                      </p:to>
                                    </p:set>
                                    <p:animEffect transition="in" filter="wipe(down)">
                                      <p:cBhvr>
                                        <p:cTn id="61" dur="5000"/>
                                        <p:tgtEl>
                                          <p:spTgt spid="30"/>
                                        </p:tgtEl>
                                      </p:cBhvr>
                                    </p:animEffect>
                                  </p:childTnLst>
                                </p:cTn>
                              </p:par>
                              <p:par>
                                <p:cTn id="62" presetID="22" presetClass="entr" presetSubtype="8" fill="hold" grpId="0" nodeType="withEffect">
                                  <p:stCondLst>
                                    <p:cond delay="4000"/>
                                  </p:stCondLst>
                                  <p:childTnLst>
                                    <p:set>
                                      <p:cBhvr>
                                        <p:cTn id="63" dur="1" fill="hold">
                                          <p:stCondLst>
                                            <p:cond delay="0"/>
                                          </p:stCondLst>
                                        </p:cTn>
                                        <p:tgtEl>
                                          <p:spTgt spid="19"/>
                                        </p:tgtEl>
                                        <p:attrNameLst>
                                          <p:attrName>style.visibility</p:attrName>
                                        </p:attrNameLst>
                                      </p:cBhvr>
                                      <p:to>
                                        <p:strVal val="visible"/>
                                      </p:to>
                                    </p:set>
                                    <p:animEffect transition="in" filter="wipe(left)">
                                      <p:cBhvr>
                                        <p:cTn id="64" dur="3000"/>
                                        <p:tgtEl>
                                          <p:spTgt spid="19"/>
                                        </p:tgtEl>
                                      </p:cBhvr>
                                    </p:animEffect>
                                  </p:childTnLst>
                                </p:cTn>
                              </p:par>
                              <p:par>
                                <p:cTn id="65" presetID="8" presetClass="emph" presetSubtype="0" repeatCount="indefinite" fill="hold" nodeType="withEffect">
                                  <p:stCondLst>
                                    <p:cond delay="4000"/>
                                  </p:stCondLst>
                                  <p:childTnLst>
                                    <p:animRot by="21600000">
                                      <p:cBhvr>
                                        <p:cTn id="66" dur="2000" fill="hold"/>
                                        <p:tgtEl>
                                          <p:spTgt spid="11"/>
                                        </p:tgtEl>
                                        <p:attrNameLst>
                                          <p:attrName>r</p:attrName>
                                        </p:attrNameLst>
                                      </p:cBhvr>
                                    </p:animRot>
                                  </p:childTnLst>
                                </p:cTn>
                              </p:par>
                              <p:par>
                                <p:cTn id="67" presetID="8" presetClass="emph" presetSubtype="0" repeatCount="indefinite" fill="hold" nodeType="withEffect">
                                  <p:stCondLst>
                                    <p:cond delay="4000"/>
                                  </p:stCondLst>
                                  <p:childTnLst>
                                    <p:animRot by="21600000">
                                      <p:cBhvr>
                                        <p:cTn id="68" dur="2000" fill="hold"/>
                                        <p:tgtEl>
                                          <p:spTgt spid="15"/>
                                        </p:tgtEl>
                                        <p:attrNameLst>
                                          <p:attrName>r</p:attrName>
                                        </p:attrNameLst>
                                      </p:cBhvr>
                                    </p:animRot>
                                  </p:childTnLst>
                                </p:cTn>
                              </p:par>
                              <p:par>
                                <p:cTn id="69" presetID="8" presetClass="emph" presetSubtype="0" repeatCount="indefinite" fill="hold" nodeType="withEffect">
                                  <p:stCondLst>
                                    <p:cond delay="4000"/>
                                  </p:stCondLst>
                                  <p:childTnLst>
                                    <p:animRot by="21600000">
                                      <p:cBhvr>
                                        <p:cTn id="70" dur="2000" fill="hold"/>
                                        <p:tgtEl>
                                          <p:spTgt spid="34"/>
                                        </p:tgtEl>
                                        <p:attrNameLst>
                                          <p:attrName>r</p:attrName>
                                        </p:attrNameLst>
                                      </p:cBhvr>
                                    </p:animRot>
                                  </p:childTnLst>
                                </p:cTn>
                              </p:par>
                              <p:par>
                                <p:cTn id="71" presetID="8" presetClass="emph" presetSubtype="0" repeatCount="indefinite" fill="hold" nodeType="withEffect">
                                  <p:stCondLst>
                                    <p:cond delay="4000"/>
                                  </p:stCondLst>
                                  <p:childTnLst>
                                    <p:animRot by="21600000">
                                      <p:cBhvr>
                                        <p:cTn id="72" dur="2000" fill="hold"/>
                                        <p:tgtEl>
                                          <p:spTgt spid="38"/>
                                        </p:tgtEl>
                                        <p:attrNameLst>
                                          <p:attrName>r</p:attrName>
                                        </p:attrNameLst>
                                      </p:cBhvr>
                                    </p:animRot>
                                  </p:childTnLst>
                                </p:cTn>
                              </p:par>
                              <p:par>
                                <p:cTn id="73" presetID="8" presetClass="emph" presetSubtype="0" repeatCount="indefinite" fill="hold" nodeType="withEffect">
                                  <p:stCondLst>
                                    <p:cond delay="4000"/>
                                  </p:stCondLst>
                                  <p:childTnLst>
                                    <p:animRot by="21600000">
                                      <p:cBhvr>
                                        <p:cTn id="74" dur="2000" fill="hold"/>
                                        <p:tgtEl>
                                          <p:spTgt spid="42"/>
                                        </p:tgtEl>
                                        <p:attrNameLst>
                                          <p:attrName>r</p:attrName>
                                        </p:attrNameLst>
                                      </p:cBhvr>
                                    </p:animRot>
                                  </p:childTnLst>
                                </p:cTn>
                              </p:par>
                              <p:par>
                                <p:cTn id="75" presetID="22" presetClass="entr" presetSubtype="1" repeatCount="indefinite" fill="hold" grpId="0" nodeType="withEffect">
                                  <p:stCondLst>
                                    <p:cond delay="0"/>
                                  </p:stCondLst>
                                  <p:childTnLst>
                                    <p:set>
                                      <p:cBhvr>
                                        <p:cTn id="76" dur="1" fill="hold">
                                          <p:stCondLst>
                                            <p:cond delay="0"/>
                                          </p:stCondLst>
                                        </p:cTn>
                                        <p:tgtEl>
                                          <p:spTgt spid="54"/>
                                        </p:tgtEl>
                                        <p:attrNameLst>
                                          <p:attrName>style.visibility</p:attrName>
                                        </p:attrNameLst>
                                      </p:cBhvr>
                                      <p:to>
                                        <p:strVal val="visible"/>
                                      </p:to>
                                    </p:set>
                                    <p:animEffect transition="in" filter="wipe(up)">
                                      <p:cBhvr>
                                        <p:cTn id="77" dur="10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0" grpId="1" animBg="1"/>
      <p:bldP spid="21" grpId="0" animBg="1"/>
      <p:bldP spid="21" grpId="1" animBg="1"/>
      <p:bldP spid="22" grpId="0" animBg="1"/>
      <p:bldP spid="22" grpId="1" animBg="1"/>
      <p:bldP spid="23" grpId="0" animBg="1"/>
      <p:bldP spid="23" grpId="1" animBg="1"/>
      <p:bldP spid="24" grpId="0" animBg="1"/>
      <p:bldP spid="24" grpId="1" animBg="1"/>
      <p:bldP spid="25" grpId="0" animBg="1"/>
      <p:bldP spid="25" grpId="1" animBg="1"/>
      <p:bldP spid="30" grpId="0" animBg="1"/>
      <p:bldP spid="5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Tempered Glass</a:t>
            </a:r>
            <a:endParaRPr lang="en-IN" dirty="0"/>
          </a:p>
        </p:txBody>
      </p:sp>
      <p:sp>
        <p:nvSpPr>
          <p:cNvPr id="3" name="Content Placeholder 2"/>
          <p:cNvSpPr>
            <a:spLocks noGrp="1"/>
          </p:cNvSpPr>
          <p:nvPr>
            <p:ph idx="1"/>
          </p:nvPr>
        </p:nvSpPr>
        <p:spPr>
          <a:xfrm>
            <a:off x="1808922" y="1628775"/>
            <a:ext cx="9695690" cy="983796"/>
          </a:xfrm>
        </p:spPr>
        <p:txBody>
          <a:bodyPr/>
          <a:lstStyle/>
          <a:p>
            <a:pPr marL="0" indent="0">
              <a:buNone/>
            </a:pPr>
            <a:r>
              <a:rPr lang="en-IN" b="1" dirty="0">
                <a:solidFill>
                  <a:srgbClr val="0070C0"/>
                </a:solidFill>
              </a:rPr>
              <a:t>Float glass heated to a temperature near its softening point and forced to </a:t>
            </a:r>
            <a:r>
              <a:rPr lang="en-IN" b="1" dirty="0" smtClean="0">
                <a:solidFill>
                  <a:srgbClr val="0070C0"/>
                </a:solidFill>
              </a:rPr>
              <a:t>cool rapidly </a:t>
            </a:r>
            <a:r>
              <a:rPr lang="en-IN" b="1" dirty="0">
                <a:solidFill>
                  <a:srgbClr val="0070C0"/>
                </a:solidFill>
              </a:rPr>
              <a:t>under controlled conditions is  "Tempered glass" .The heat </a:t>
            </a:r>
            <a:r>
              <a:rPr lang="en-IN" b="1" dirty="0" smtClean="0">
                <a:solidFill>
                  <a:srgbClr val="0070C0"/>
                </a:solidFill>
              </a:rPr>
              <a:t>treatment technique </a:t>
            </a:r>
            <a:r>
              <a:rPr lang="en-IN" b="1" dirty="0">
                <a:solidFill>
                  <a:srgbClr val="0070C0"/>
                </a:solidFill>
              </a:rPr>
              <a:t>increases the strength of annealed glass by four to five times</a:t>
            </a:r>
          </a:p>
        </p:txBody>
      </p:sp>
      <p:sp>
        <p:nvSpPr>
          <p:cNvPr id="5" name="Slide Number Placeholder 4"/>
          <p:cNvSpPr>
            <a:spLocks noGrp="1"/>
          </p:cNvSpPr>
          <p:nvPr>
            <p:ph type="sldNum" sz="quarter" idx="12"/>
          </p:nvPr>
        </p:nvSpPr>
        <p:spPr/>
        <p:txBody>
          <a:bodyPr/>
          <a:lstStyle/>
          <a:p>
            <a:fld id="{919B753E-A5E7-4674-ACC8-1711CA16ACCF}" type="slidenum">
              <a:rPr lang="en-IN" smtClean="0"/>
              <a:t>9</a:t>
            </a:fld>
            <a:endParaRPr lang="en-IN"/>
          </a:p>
        </p:txBody>
      </p:sp>
      <p:sp>
        <p:nvSpPr>
          <p:cNvPr id="7" name="Content Placeholder 2"/>
          <p:cNvSpPr txBox="1">
            <a:spLocks/>
          </p:cNvSpPr>
          <p:nvPr/>
        </p:nvSpPr>
        <p:spPr>
          <a:xfrm>
            <a:off x="1808922" y="2791958"/>
            <a:ext cx="7084707" cy="3516767"/>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marL="0" indent="0">
              <a:buNone/>
            </a:pPr>
            <a:r>
              <a:rPr lang="en-IN" b="1" dirty="0"/>
              <a:t>Benefits of Tempered </a:t>
            </a:r>
            <a:r>
              <a:rPr lang="en-IN" b="1" dirty="0" smtClean="0"/>
              <a:t>Glasses</a:t>
            </a:r>
          </a:p>
          <a:p>
            <a:pPr>
              <a:buFont typeface="+mj-lt"/>
              <a:buAutoNum type="arabicPeriod"/>
            </a:pPr>
            <a:r>
              <a:rPr lang="en-IN" b="1" dirty="0"/>
              <a:t> Strength </a:t>
            </a:r>
            <a:r>
              <a:rPr lang="en-IN" dirty="0"/>
              <a:t>: Tempered glass is approximately four times </a:t>
            </a:r>
            <a:r>
              <a:rPr lang="en-IN" dirty="0" smtClean="0"/>
              <a:t>as strong </a:t>
            </a:r>
            <a:r>
              <a:rPr lang="en-IN" dirty="0"/>
              <a:t>as annealed glass and able to resist </a:t>
            </a:r>
            <a:r>
              <a:rPr lang="en-IN" dirty="0" smtClean="0"/>
              <a:t>temperature differences </a:t>
            </a:r>
            <a:r>
              <a:rPr lang="en-IN" dirty="0"/>
              <a:t>(200 ° F - 300 ° F) which would cause annealed </a:t>
            </a:r>
            <a:r>
              <a:rPr lang="en-IN" dirty="0" smtClean="0"/>
              <a:t>glass to crack</a:t>
            </a:r>
          </a:p>
          <a:p>
            <a:pPr>
              <a:buFont typeface="+mj-lt"/>
              <a:buAutoNum type="arabicPeriod"/>
            </a:pPr>
            <a:r>
              <a:rPr lang="en-IN" b="1" dirty="0"/>
              <a:t>Safety</a:t>
            </a:r>
            <a:r>
              <a:rPr lang="en-IN" dirty="0"/>
              <a:t> : Fully tempered glass is used for its </a:t>
            </a:r>
            <a:r>
              <a:rPr lang="en-IN" dirty="0" smtClean="0"/>
              <a:t>safety characteristics</a:t>
            </a:r>
            <a:r>
              <a:rPr lang="en-IN" dirty="0"/>
              <a:t>. Safety comes from strength and from a </a:t>
            </a:r>
            <a:r>
              <a:rPr lang="en-IN" dirty="0" smtClean="0"/>
              <a:t>unique fracture </a:t>
            </a:r>
            <a:r>
              <a:rPr lang="en-IN" dirty="0"/>
              <a:t>pattern than regular glass. When tempered glass </a:t>
            </a:r>
            <a:r>
              <a:rPr lang="en-IN" dirty="0" smtClean="0"/>
              <a:t>is struck </a:t>
            </a:r>
            <a:r>
              <a:rPr lang="en-IN" dirty="0"/>
              <a:t>it does not break in to sharp jagged pieces of </a:t>
            </a:r>
            <a:r>
              <a:rPr lang="en-IN" dirty="0" smtClean="0"/>
              <a:t>shrapnel like glass. Instead it breaks in to little pebble-like pieces </a:t>
            </a:r>
            <a:r>
              <a:rPr lang="en-IN" dirty="0"/>
              <a:t>w</a:t>
            </a:r>
            <a:r>
              <a:rPr lang="en-IN" dirty="0" smtClean="0"/>
              <a:t>ithout sharp </a:t>
            </a:r>
            <a:r>
              <a:rPr lang="en-IN" dirty="0"/>
              <a:t>edges</a:t>
            </a:r>
          </a:p>
        </p:txBody>
      </p:sp>
      <p:pic>
        <p:nvPicPr>
          <p:cNvPr id="8" name="Picture 7"/>
          <p:cNvPicPr>
            <a:picLocks noChangeAspect="1"/>
          </p:cNvPicPr>
          <p:nvPr/>
        </p:nvPicPr>
        <p:blipFill>
          <a:blip r:embed="rId2"/>
          <a:stretch>
            <a:fillRect/>
          </a:stretch>
        </p:blipFill>
        <p:spPr>
          <a:xfrm>
            <a:off x="9043760" y="2443615"/>
            <a:ext cx="2995840" cy="3574654"/>
          </a:xfrm>
          <a:prstGeom prst="rect">
            <a:avLst/>
          </a:prstGeom>
        </p:spPr>
      </p:pic>
      <p:sp>
        <p:nvSpPr>
          <p:cNvPr id="9" name="TextBox 8"/>
          <p:cNvSpPr txBox="1"/>
          <p:nvPr/>
        </p:nvSpPr>
        <p:spPr>
          <a:xfrm>
            <a:off x="9316357" y="6087015"/>
            <a:ext cx="2450646" cy="276999"/>
          </a:xfrm>
          <a:prstGeom prst="rect">
            <a:avLst/>
          </a:prstGeom>
          <a:noFill/>
        </p:spPr>
        <p:txBody>
          <a:bodyPr wrap="square" rtlCol="0">
            <a:spAutoFit/>
          </a:bodyPr>
          <a:lstStyle/>
          <a:p>
            <a:pPr algn="ctr"/>
            <a:r>
              <a:rPr lang="en-IN" sz="1200" b="1" dirty="0" smtClean="0">
                <a:solidFill>
                  <a:srgbClr val="0070C0"/>
                </a:solidFill>
              </a:rPr>
              <a:t>Breakage of </a:t>
            </a:r>
            <a:r>
              <a:rPr lang="en-IN" sz="1200" b="1" dirty="0" err="1" smtClean="0">
                <a:solidFill>
                  <a:srgbClr val="0070C0"/>
                </a:solidFill>
              </a:rPr>
              <a:t>Tempeted</a:t>
            </a:r>
            <a:r>
              <a:rPr lang="en-IN" sz="1200" b="1" dirty="0" smtClean="0">
                <a:solidFill>
                  <a:srgbClr val="0070C0"/>
                </a:solidFill>
              </a:rPr>
              <a:t> Glass</a:t>
            </a:r>
            <a:endParaRPr lang="en-IN" sz="1200" b="1" dirty="0">
              <a:solidFill>
                <a:srgbClr val="0070C0"/>
              </a:solidFill>
            </a:endParaRPr>
          </a:p>
        </p:txBody>
      </p:sp>
    </p:spTree>
    <p:extLst>
      <p:ext uri="{BB962C8B-B14F-4D97-AF65-F5344CB8AC3E}">
        <p14:creationId xmlns:p14="http://schemas.microsoft.com/office/powerpoint/2010/main" val="172567809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216IXAQDkCmGYh22LNI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tGEomX8jUe_OSfVndph6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9n3zZo_nMkeuzrw0.Rt5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vCW4T95iOkWlPqoaW.sMI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Bx03lS1TEWHJp2FR8AYn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2VOgslSMWEyw33InLbn73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yZjkn5qTUOBIvSOTEK7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fH0bSaSoUabhVQcR_pjc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efWWU2I8EqWVsb.Xq8eq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BnEUCWacEWPPUPKpxYNM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KKLBXx2sFUyhgEvRn1nTR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cOR4VWRr.kG2_EzqoXTvZ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Q_aZA9fCkKfIzAqZuKlE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aQGVdcrpwE2FnQGgwRDbj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NM3nFWBoqk6IZzJTrAVRJ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XK6aS.5.UCrAUOpO_0pX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yzDtZAq830m_UIfo5PWFR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syZ3rXBEj02SNRHqsI62d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mqtg1fP3tEih_0fni4AR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d0DKgAcqXUypsAewc3E.W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cwQ91gs8QEShMV.2OGylM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SS2j7oTpX0mDF6k4Hj8HD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qr.nPtzHUK9_WIBY3dH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e_nT4HlhEygNy11lmB6g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2OYwF9O20Uim0hO_Epfs0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7HevRZXaHUquPxwTBsdZW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kPHlJeHi_kWw7jju1AkHP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KU5t2R3ykiUhPLKI4xMC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nS0W8d5eEK_L_EiIJXMj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wfWsVk9dE698NOfNxw6r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PVRKh0uPEmrn6FM5qq6B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yiUsPnKdIkeiPaVr38apx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Vh2QLKw47UyaecT7ShZdl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ay1EtJsCZUqc8MQSaEi.R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uOfT.DtqEWosppxu9dV9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84Oo5vUkHk.z5KTtTRgkP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vd3._wXnUuVl6NMzCSmT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EaY6NC83aUOZxH5KOtrfA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EWJtx4MGE6AnNPxcbh0X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9yY7zTqErk2Rdl_.rACM6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78CMp1VkqkaUnD63.0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9MI1tJ9vEKB3IEmxiS9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OidHMfWuUqJ74fY_M9Ub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qDVIxp3iUi3YcS7aFLJ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LNGkVNm.E.3znWaiEZm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6ZbhvyK0k2jfEcwyxFo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hfvMPukzk6Xqww75lY4P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0D4DcvWIEKayd.KoqbN2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HRWhOVAjECh_u6x.yTHs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0D4DcvWIEKayd.KoqbN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skHaFTIrUyAmitBJx4B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y.1cC2HLE2w1R5Ymbser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9.uWoxDkqJgS8QuMlU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6OkdmSGhp0OPNV9Sc.hNF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OAuRLBeR062vwkEGDuHB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ulab3eX4ECrAir_a6J6Q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4ABvpwBKa0inAgZxfUOZ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O5FDuk2YkaVpWVji1jr9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4bn.vktSkSyadpsg90qu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zjvu3ANDUWQZQZG44EaE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F1.qunq0eM1RCR.lEj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wtvgPlSGECOizAxhTSM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IiDpuEXNk2_PF01ddfz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_yI4Yfa6p0C.KdM2W8XdI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9uzzaicjIkClEkTiwYxO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UmpPy1xC0ydIHnPbbTb2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7aDL4Y7P0.GXJshL9y0p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KKU6x4GkkiQo7qZxHlZ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XoomgQCEm6GCoZjabX6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DFeQA7yMkKzADeaRIylW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3Sr8n6a.skqJWsWURGNlM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JveoxSG9ECt8AtFB78RM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GyP7RK.lk.eKRzd8Z0q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1szaXTAlkmAj7yvJBgu9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tJXVhWyoUKSeRD98W4y5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rwDAJmC.kyVbH7KImV8j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CugAhP5FkmCXIEtPo_78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g3qlq3UiEee2tSF.DqZr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9TBZjvU0WsTXBzNSmq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q95up3z6Ey9QiMeXAZUX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5oJ9J1YiUKfjKsiLU_uZ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27uK39.TaUCm4ZqMGJ71c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aCYlW7.6Eykyva7pcdU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Cncs09cukG3Vq4XQMQBR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yMpNi37rKUuGwMD2uiqJS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HWk7vqJTU6n_tsVINMH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eukvvaI0U.UAjw_D240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JtdUJwSMEuL2pGGFBAGB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bZDdKd0.kCL_RbuGuc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bM21W5vQEivBbt4Eso5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tDfQg7HYUu4OlbvHCovt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B6p2NxpUW_nqr2rM5m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9bUj8odg70ekLTJjH4HBq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x3f3rTqlEKGJWEm2abJz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YLAYeM_j067k.KdOKRhk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NPVRKh0uPEmrn6FM5qq6B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8KKU6x4GkkiQo7qZxHlZ4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VDFeQA7yMkKzADeaRIylW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3Sr8n6a.skqJWsWURGNl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JveoxSG9ECt8AtFB78RM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GyP7RK.lk.eKRzd8Z0q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4uGOMTGkUK8.VA3RewYC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1szaXTAlkmAj7yvJBgu9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wtJXVhWyoUKSeRD98W4y5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rwDAJmC.kyVbH7KImV8j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_CugAhP5FkmCXIEtPo_78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DGyP7RK.lk.eKRzd8Z0qI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1szaXTAlkmAj7yvJBgu9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wtJXVhWyoUKSeRD98W4y5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rwDAJmC.kyVbH7KImV8j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CugAhP5FkmCXIEtPo_78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GyP7RK.lk.eKRzd8Z0q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puyatyKgE2XJkp7b5V11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B1szaXTAlkmAj7yvJBgu9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wtJXVhWyoUKSeRD98W4y5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rwDAJmC.kyVbH7KImV8j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_CugAhP5FkmCXIEtPo_78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rwDAJmC.kyVbH7KImV8j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_CugAhP5FkmCXIEtPo_78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hrwDAJmC.kyVbH7KImV8j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_CugAhP5FkmCXIEtPo_78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JRkqOow8kuwEyxdgtNm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iigfm_WAkWjR2A_1QNmK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QkIUDEYyEi0TRvboB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A_R8nyf_6U.c_bC8HLGFa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TTCWYCxsOkKdh4aJZRKFg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OxJVDuJJUWlHlEmgD62f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8wymydhj06ryYc7z7h6w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_WRA5NqkU2URtDlbLd.1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dWrmdFFnSE.82EtSjF6sJ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H4RaiUYT06Y5yddh78Gq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ajo7.DkL7UiKTLIiqTE0z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tThcwez2U6QRS8XukPMXg"/>
</p:tagLst>
</file>

<file path=ppt/theme/theme1.xml><?xml version="1.0" encoding="utf-8"?>
<a:theme xmlns:a="http://schemas.openxmlformats.org/drawingml/2006/main" name="Wisp">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isp</Template>
  <TotalTime>2303</TotalTime>
  <Words>2171</Words>
  <Application>Microsoft Office PowerPoint</Application>
  <PresentationFormat>Widescreen</PresentationFormat>
  <Paragraphs>173</Paragraphs>
  <Slides>17</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7" baseType="lpstr">
      <vt:lpstr>Algerian</vt:lpstr>
      <vt:lpstr>Arial</vt:lpstr>
      <vt:lpstr>Calibri</vt:lpstr>
      <vt:lpstr>Century Gothic</vt:lpstr>
      <vt:lpstr>Comic Sans MS</vt:lpstr>
      <vt:lpstr>CorpoS</vt:lpstr>
      <vt:lpstr>Webdings</vt:lpstr>
      <vt:lpstr>Wingdings 3</vt:lpstr>
      <vt:lpstr>Wisp</vt:lpstr>
      <vt:lpstr>think-cell Slide</vt:lpstr>
      <vt:lpstr>Glass Processing</vt:lpstr>
      <vt:lpstr>Glass – An Introduction</vt:lpstr>
      <vt:lpstr>History</vt:lpstr>
      <vt:lpstr>Advances in architectural glass</vt:lpstr>
      <vt:lpstr>Float Glass</vt:lpstr>
      <vt:lpstr>Glass Manufacturing – 1/2</vt:lpstr>
      <vt:lpstr>Glass Manufacturing – 2/2</vt:lpstr>
      <vt:lpstr>Float glass manufacturing</vt:lpstr>
      <vt:lpstr>Tempered Glass</vt:lpstr>
      <vt:lpstr>Tempered glass manufacturing</vt:lpstr>
      <vt:lpstr>Laminated glass</vt:lpstr>
      <vt:lpstr>Laminated Glass - Windshield Manufacturing </vt:lpstr>
      <vt:lpstr>Coloured Glass</vt:lpstr>
      <vt:lpstr>Bullet-resistant glass (ballistic glass)</vt:lpstr>
      <vt:lpstr>8 Levels of Bullet-Resistant Glass</vt:lpstr>
      <vt:lpstr>Application of Glass</vt:lpstr>
      <vt:lpstr>The future of glas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epak Pathak</dc:creator>
  <cp:lastModifiedBy>DELL</cp:lastModifiedBy>
  <cp:revision>54</cp:revision>
  <dcterms:created xsi:type="dcterms:W3CDTF">2019-09-26T00:24:51Z</dcterms:created>
  <dcterms:modified xsi:type="dcterms:W3CDTF">2020-11-10T17:32:46Z</dcterms:modified>
</cp:coreProperties>
</file>